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57" r:id="rId3"/>
    <p:sldId id="259" r:id="rId4"/>
    <p:sldId id="326" r:id="rId5"/>
    <p:sldId id="324" r:id="rId6"/>
    <p:sldId id="343" r:id="rId7"/>
    <p:sldId id="261" r:id="rId8"/>
    <p:sldId id="263" r:id="rId9"/>
    <p:sldId id="342" r:id="rId10"/>
    <p:sldId id="260" r:id="rId11"/>
  </p:sldIdLst>
  <p:sldSz cx="12192000" cy="6858000"/>
  <p:notesSz cx="6761163" cy="9856788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00FF"/>
    <a:srgbClr val="0033CC"/>
    <a:srgbClr val="00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66" autoAdjust="0"/>
    <p:restoredTop sz="94737" autoAdjust="0"/>
  </p:normalViewPr>
  <p:slideViewPr>
    <p:cSldViewPr>
      <p:cViewPr varScale="1">
        <p:scale>
          <a:sx n="76" d="100"/>
          <a:sy n="76" d="100"/>
        </p:scale>
        <p:origin x="552" y="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99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0B55DF59-0F53-4050-AF5E-93585945D4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F9FE615-1A8E-46A9-928A-77BADCFDED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29050" y="0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4D0299-3734-408F-BE89-7B5D604F3AE9}" type="datetimeFigureOut">
              <a:rPr lang="fr-FR" smtClean="0"/>
              <a:t>03/04/2019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4F20359-3716-4F65-9039-AF43318B20E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63075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8B55E68-307C-4842-94B4-6ED33D51A79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29050" y="9363075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6FC91E-EDAE-45FA-B21E-72AE395D1EE3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46343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8938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t" anchorCtr="0" compatLnSpc="1">
            <a:prstTxWarp prst="textNoShape">
              <a:avLst/>
            </a:prstTxWarp>
          </a:bodyPr>
          <a:lstStyle>
            <a:lvl1pPr defTabSz="919163">
              <a:defRPr sz="1200"/>
            </a:lvl1pPr>
          </a:lstStyle>
          <a:p>
            <a:endParaRPr lang="fr-FR" altLang="ja-JP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30638" y="0"/>
            <a:ext cx="2928937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t" anchorCtr="0" compatLnSpc="1">
            <a:prstTxWarp prst="textNoShape">
              <a:avLst/>
            </a:prstTxWarp>
          </a:bodyPr>
          <a:lstStyle>
            <a:lvl1pPr algn="r" defTabSz="919163">
              <a:defRPr sz="1200"/>
            </a:lvl1pPr>
          </a:lstStyle>
          <a:p>
            <a:endParaRPr lang="fr-FR" altLang="ja-JP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6838" y="739775"/>
            <a:ext cx="6569075" cy="3695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97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6275" y="4681538"/>
            <a:ext cx="5408613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ja-JP"/>
              <a:t>Cliquez pour modifier les styles du texte du masque</a:t>
            </a:r>
          </a:p>
          <a:p>
            <a:pPr lvl="1"/>
            <a:r>
              <a:rPr lang="fr-FR" altLang="ja-JP"/>
              <a:t>Deuxième niveau</a:t>
            </a:r>
          </a:p>
          <a:p>
            <a:pPr lvl="2"/>
            <a:r>
              <a:rPr lang="fr-FR" altLang="ja-JP"/>
              <a:t>Troisième niveau</a:t>
            </a:r>
          </a:p>
          <a:p>
            <a:pPr lvl="3"/>
            <a:r>
              <a:rPr lang="fr-FR" altLang="ja-JP"/>
              <a:t>Quatrième niveau</a:t>
            </a:r>
          </a:p>
          <a:p>
            <a:pPr lvl="4"/>
            <a:r>
              <a:rPr lang="fr-FR" altLang="ja-JP"/>
              <a:t>Cinquième niveau</a:t>
            </a:r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1488"/>
            <a:ext cx="2928938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b" anchorCtr="0" compatLnSpc="1">
            <a:prstTxWarp prst="textNoShape">
              <a:avLst/>
            </a:prstTxWarp>
          </a:bodyPr>
          <a:lstStyle>
            <a:lvl1pPr defTabSz="919163">
              <a:defRPr sz="1200"/>
            </a:lvl1pPr>
          </a:lstStyle>
          <a:p>
            <a:endParaRPr lang="fr-FR" altLang="ja-JP"/>
          </a:p>
        </p:txBody>
      </p:sp>
      <p:sp>
        <p:nvSpPr>
          <p:cNvPr id="297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30638" y="9361488"/>
            <a:ext cx="2928937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b" anchorCtr="0" compatLnSpc="1">
            <a:prstTxWarp prst="textNoShape">
              <a:avLst/>
            </a:prstTxWarp>
          </a:bodyPr>
          <a:lstStyle>
            <a:lvl1pPr algn="r" defTabSz="919163">
              <a:defRPr sz="1200"/>
            </a:lvl1pPr>
          </a:lstStyle>
          <a:p>
            <a:fld id="{41FE2CFF-C77F-45F5-8196-7FFE9E57B434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FE2CFF-C77F-45F5-8196-7FFE9E57B434}" type="slidenum">
              <a:rPr lang="ja-JP" altLang="fr-FR" smtClean="0"/>
              <a:pPr/>
              <a:t>1</a:t>
            </a:fld>
            <a:endParaRPr lang="fr-FR" altLang="ja-JP"/>
          </a:p>
        </p:txBody>
      </p:sp>
    </p:spTree>
    <p:extLst>
      <p:ext uri="{BB962C8B-B14F-4D97-AF65-F5344CB8AC3E}">
        <p14:creationId xmlns:p14="http://schemas.microsoft.com/office/powerpoint/2010/main" val="3742118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810C45F-D7AC-40B8-B361-5609B0B61D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616" y="128212"/>
            <a:ext cx="1512168" cy="12306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76E22B0-3A17-45B7-AF4B-28357ACE90C3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4D32B0-8A42-44E7-9B4D-3C2296BFBD2E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742950" indent="-28575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Calibri" panose="020F0502020204030204" pitchFamily="34" charset="0"/>
              <a:buChar char="−"/>
              <a:defRPr/>
            </a:lvl3pPr>
            <a:lvl4pPr marL="1600200" indent="-228600">
              <a:buFont typeface="Courier New" panose="02070309020205020404" pitchFamily="49" charset="0"/>
              <a:buChar char="o"/>
              <a:defRPr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4A5D464-134C-4C80-B41F-7081051DEBC1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D7F56F4-53F4-4744-8FEF-840AE151320B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DCAE38-802C-4BCD-8E23-F653FABC34F1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CF7609-A126-430D-864C-5251E8DC0566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C2F580-C48E-4C14-8111-BE255E1134ED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9A974D-1DC4-4C29-960C-4F23E42A2DA2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050A2B-ED20-46DB-805A-96BB748EB760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7F7C1A6-5432-4A88-9199-948E52B80477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chemeClr val="bg1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ja-JP" dirty="0"/>
              <a:t>Cliquez pour modifier les styles du texte du masque</a:t>
            </a:r>
          </a:p>
          <a:p>
            <a:pPr lvl="1"/>
            <a:r>
              <a:rPr lang="fr-FR" altLang="ja-JP" dirty="0"/>
              <a:t>Deuxième niveau</a:t>
            </a:r>
          </a:p>
          <a:p>
            <a:pPr lvl="2"/>
            <a:r>
              <a:rPr lang="fr-FR" altLang="ja-JP" dirty="0"/>
              <a:t>Troisième niveau</a:t>
            </a:r>
          </a:p>
          <a:p>
            <a:pPr lvl="3"/>
            <a:r>
              <a:rPr lang="fr-FR" altLang="ja-JP" dirty="0"/>
              <a:t>Quatrième niveau</a:t>
            </a:r>
          </a:p>
          <a:p>
            <a:pPr lvl="4"/>
            <a:r>
              <a:rPr lang="fr-FR" altLang="ja-JP" dirty="0"/>
              <a:t>Cinquième niveau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ea typeface="ＭＳ Ｐゴシック" pitchFamily="34" charset="-128"/>
              </a:defRPr>
            </a:lvl1pPr>
          </a:lstStyle>
          <a:p>
            <a:endParaRPr lang="fr-FR" altLang="ja-JP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34" charset="-128"/>
              </a:defRPr>
            </a:lvl1pPr>
          </a:lstStyle>
          <a:p>
            <a:endParaRPr lang="fr-FR" altLang="ja-JP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34" charset="-128"/>
              </a:defRPr>
            </a:lvl1pPr>
          </a:lstStyle>
          <a:p>
            <a:fld id="{841ADF96-E6CA-4184-9617-4AA0842E2F41}" type="slidenum">
              <a:rPr lang="ja-JP" altLang="fr-FR"/>
              <a:pPr/>
              <a:t>‹#›</a:t>
            </a:fld>
            <a:endParaRPr lang="fr-FR" altLang="ja-JP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CB5CF22-54B9-40F4-91F9-FB0988E05961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79512" y="20335"/>
            <a:ext cx="884497" cy="14047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Char char="−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4CF181AD-2138-4110-A5E2-8649EDB8490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port on Automated Vehicle activities </a:t>
            </a:r>
          </a:p>
        </p:txBody>
      </p:sp>
      <p:sp>
        <p:nvSpPr>
          <p:cNvPr id="5" name="Sous-titre 4">
            <a:extLst>
              <a:ext uri="{FF2B5EF4-FFF2-40B4-BE49-F238E27FC236}">
                <a16:creationId xmlns:a16="http://schemas.microsoft.com/office/drawing/2014/main" id="{15054904-277D-4336-8282-11732B04703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GRSG-116</a:t>
            </a:r>
          </a:p>
          <a:p>
            <a:r>
              <a:rPr lang="fr-FR" dirty="0"/>
              <a:t>April 2019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FAA3D28-3ECA-4E2B-80FF-23F5083398EF}"/>
              </a:ext>
            </a:extLst>
          </p:cNvPr>
          <p:cNvSpPr txBox="1"/>
          <p:nvPr/>
        </p:nvSpPr>
        <p:spPr>
          <a:xfrm>
            <a:off x="7680176" y="315714"/>
            <a:ext cx="43204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u="sng" dirty="0"/>
              <a:t>Informal document</a:t>
            </a:r>
            <a:r>
              <a:rPr lang="en-GB" dirty="0"/>
              <a:t> GRSG-116-46</a:t>
            </a:r>
          </a:p>
          <a:p>
            <a:r>
              <a:rPr lang="pt-BR" dirty="0"/>
              <a:t>(116th GRSG, 1-5 April 2019</a:t>
            </a:r>
            <a:endParaRPr lang="en-GB" dirty="0"/>
          </a:p>
          <a:p>
            <a:r>
              <a:rPr lang="pt-BR" dirty="0"/>
              <a:t>Agenda item 18.)</a:t>
            </a:r>
            <a:endParaRPr lang="en-GB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fr-FR" sz="6000"/>
          </a:p>
          <a:p>
            <a:pPr marL="0" indent="0" algn="ctr">
              <a:buNone/>
            </a:pPr>
            <a:r>
              <a:rPr lang="fr-FR" sz="6000"/>
              <a:t>Thank</a:t>
            </a:r>
            <a:r>
              <a:rPr lang="fr-FR" sz="6000" dirty="0"/>
              <a:t> </a:t>
            </a:r>
            <a:r>
              <a:rPr lang="fr-FR" sz="6000" dirty="0" err="1"/>
              <a:t>you</a:t>
            </a:r>
            <a:endParaRPr lang="fr-FR" sz="60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0" name="Connecteur droit avec flèche 69">
            <a:extLst>
              <a:ext uri="{FF2B5EF4-FFF2-40B4-BE49-F238E27FC236}">
                <a16:creationId xmlns:a16="http://schemas.microsoft.com/office/drawing/2014/main" id="{73BC29DB-F2EF-4A3D-812F-C4E6DB6F4091}"/>
              </a:ext>
            </a:extLst>
          </p:cNvPr>
          <p:cNvCxnSpPr>
            <a:cxnSpLocks/>
          </p:cNvCxnSpPr>
          <p:nvPr/>
        </p:nvCxnSpPr>
        <p:spPr>
          <a:xfrm>
            <a:off x="3169799" y="2780928"/>
            <a:ext cx="0" cy="300691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avec flèche 54">
            <a:extLst>
              <a:ext uri="{FF2B5EF4-FFF2-40B4-BE49-F238E27FC236}">
                <a16:creationId xmlns:a16="http://schemas.microsoft.com/office/drawing/2014/main" id="{F346C18D-3173-418E-92BF-5F738F89E790}"/>
              </a:ext>
            </a:extLst>
          </p:cNvPr>
          <p:cNvCxnSpPr>
            <a:cxnSpLocks/>
          </p:cNvCxnSpPr>
          <p:nvPr/>
        </p:nvCxnSpPr>
        <p:spPr>
          <a:xfrm>
            <a:off x="5375920" y="2852245"/>
            <a:ext cx="0" cy="122482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imeline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78711C9F-B69E-421E-8EE4-A0E72CDA0FC1}"/>
              </a:ext>
            </a:extLst>
          </p:cNvPr>
          <p:cNvCxnSpPr/>
          <p:nvPr/>
        </p:nvCxnSpPr>
        <p:spPr>
          <a:xfrm>
            <a:off x="1271464" y="2708920"/>
            <a:ext cx="9001000" cy="0"/>
          </a:xfrm>
          <a:prstGeom prst="line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EC510827-D6C4-4B3D-AA8E-35B908C19827}"/>
              </a:ext>
            </a:extLst>
          </p:cNvPr>
          <p:cNvCxnSpPr/>
          <p:nvPr/>
        </p:nvCxnSpPr>
        <p:spPr>
          <a:xfrm>
            <a:off x="3701734" y="2248561"/>
            <a:ext cx="0" cy="8640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60E52DA4-5CA0-4026-87A4-960776B751EA}"/>
              </a:ext>
            </a:extLst>
          </p:cNvPr>
          <p:cNvCxnSpPr/>
          <p:nvPr/>
        </p:nvCxnSpPr>
        <p:spPr>
          <a:xfrm>
            <a:off x="5195900" y="2275490"/>
            <a:ext cx="0" cy="8640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EB24672-13F1-4FC8-837A-35CF654388D0}"/>
              </a:ext>
            </a:extLst>
          </p:cNvPr>
          <p:cNvCxnSpPr/>
          <p:nvPr/>
        </p:nvCxnSpPr>
        <p:spPr>
          <a:xfrm>
            <a:off x="6690066" y="2302419"/>
            <a:ext cx="0" cy="8640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D1B377BD-7321-4725-9DED-565C3B08D4DE}"/>
              </a:ext>
            </a:extLst>
          </p:cNvPr>
          <p:cNvCxnSpPr/>
          <p:nvPr/>
        </p:nvCxnSpPr>
        <p:spPr>
          <a:xfrm>
            <a:off x="8184232" y="2329348"/>
            <a:ext cx="0" cy="8640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FD6D882B-3E4E-4BE9-8D0B-0EA6C3BE4E51}"/>
              </a:ext>
            </a:extLst>
          </p:cNvPr>
          <p:cNvCxnSpPr/>
          <p:nvPr/>
        </p:nvCxnSpPr>
        <p:spPr>
          <a:xfrm>
            <a:off x="2207568" y="2221632"/>
            <a:ext cx="0" cy="8640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517A3218-1B4F-4751-A1A0-3A6F6C86837B}"/>
              </a:ext>
            </a:extLst>
          </p:cNvPr>
          <p:cNvSpPr txBox="1"/>
          <p:nvPr/>
        </p:nvSpPr>
        <p:spPr>
          <a:xfrm>
            <a:off x="3359695" y="1202171"/>
            <a:ext cx="9361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Jan 19</a:t>
            </a:r>
            <a:endParaRPr lang="en-GB" b="1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4968120E-1381-40C2-AAD2-540C25307B35}"/>
              </a:ext>
            </a:extLst>
          </p:cNvPr>
          <p:cNvSpPr txBox="1"/>
          <p:nvPr/>
        </p:nvSpPr>
        <p:spPr>
          <a:xfrm>
            <a:off x="4655846" y="1196752"/>
            <a:ext cx="11521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March 19</a:t>
            </a:r>
            <a:endParaRPr lang="en-GB" b="1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D318F506-7C30-495B-8AE4-F60ECF6860CE}"/>
              </a:ext>
            </a:extLst>
          </p:cNvPr>
          <p:cNvSpPr txBox="1"/>
          <p:nvPr/>
        </p:nvSpPr>
        <p:spPr>
          <a:xfrm>
            <a:off x="1608808" y="1876614"/>
            <a:ext cx="12289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GRVA-01</a:t>
            </a:r>
            <a:endParaRPr lang="en-GB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E6813D6F-1955-4C41-A246-0C71AE31A7B4}"/>
              </a:ext>
            </a:extLst>
          </p:cNvPr>
          <p:cNvSpPr txBox="1"/>
          <p:nvPr/>
        </p:nvSpPr>
        <p:spPr>
          <a:xfrm>
            <a:off x="9336373" y="1235269"/>
            <a:ext cx="9361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Jan 20</a:t>
            </a:r>
            <a:endParaRPr lang="en-GB" b="1" dirty="0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450FC705-DAC1-4843-A1DC-606ECBE21462}"/>
              </a:ext>
            </a:extLst>
          </p:cNvPr>
          <p:cNvSpPr txBox="1"/>
          <p:nvPr/>
        </p:nvSpPr>
        <p:spPr>
          <a:xfrm>
            <a:off x="5047097" y="3166515"/>
            <a:ext cx="1336935" cy="369332"/>
          </a:xfrm>
          <a:prstGeom prst="rect">
            <a:avLst/>
          </a:prstGeom>
          <a:solidFill>
            <a:schemeClr val="accent5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GRSG-116</a:t>
            </a:r>
            <a:endParaRPr lang="en-GB" dirty="0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DC94B0E7-E513-479D-9EFE-75D55FBFFCDD}"/>
              </a:ext>
            </a:extLst>
          </p:cNvPr>
          <p:cNvSpPr txBox="1"/>
          <p:nvPr/>
        </p:nvSpPr>
        <p:spPr>
          <a:xfrm>
            <a:off x="6096000" y="1208415"/>
            <a:ext cx="10801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June 19</a:t>
            </a:r>
            <a:endParaRPr lang="en-GB" b="1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0BCA0C5C-FAEC-4580-A235-9417EE30402F}"/>
              </a:ext>
            </a:extLst>
          </p:cNvPr>
          <p:cNvSpPr txBox="1"/>
          <p:nvPr/>
        </p:nvSpPr>
        <p:spPr>
          <a:xfrm>
            <a:off x="7680182" y="1202171"/>
            <a:ext cx="11521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Sept 19</a:t>
            </a:r>
            <a:endParaRPr lang="en-GB" b="1" dirty="0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4079D268-4D75-41A1-B2CF-15892C658A8F}"/>
              </a:ext>
            </a:extLst>
          </p:cNvPr>
          <p:cNvSpPr txBox="1"/>
          <p:nvPr/>
        </p:nvSpPr>
        <p:spPr>
          <a:xfrm>
            <a:off x="1703504" y="1208415"/>
            <a:ext cx="11521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Sept 18</a:t>
            </a:r>
            <a:endParaRPr lang="en-GB" b="1" dirty="0"/>
          </a:p>
        </p:txBody>
      </p:sp>
      <p:sp>
        <p:nvSpPr>
          <p:cNvPr id="20" name="Triangle isocèle 19">
            <a:extLst>
              <a:ext uri="{FF2B5EF4-FFF2-40B4-BE49-F238E27FC236}">
                <a16:creationId xmlns:a16="http://schemas.microsoft.com/office/drawing/2014/main" id="{0042373D-E8DF-4D61-816D-F5AABF70D69A}"/>
              </a:ext>
            </a:extLst>
          </p:cNvPr>
          <p:cNvSpPr/>
          <p:nvPr/>
        </p:nvSpPr>
        <p:spPr>
          <a:xfrm>
            <a:off x="5591944" y="2707538"/>
            <a:ext cx="216011" cy="289414"/>
          </a:xfrm>
          <a:prstGeom prst="triangl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2B9B5CD1-5FCB-4068-A13D-DCAA52564F2B}"/>
              </a:ext>
            </a:extLst>
          </p:cNvPr>
          <p:cNvSpPr txBox="1"/>
          <p:nvPr/>
        </p:nvSpPr>
        <p:spPr>
          <a:xfrm>
            <a:off x="8163836" y="3203684"/>
            <a:ext cx="1336935" cy="369332"/>
          </a:xfrm>
          <a:prstGeom prst="rect">
            <a:avLst/>
          </a:prstGeom>
          <a:solidFill>
            <a:schemeClr val="accent5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GRSG-117</a:t>
            </a:r>
            <a:endParaRPr lang="en-GB" dirty="0"/>
          </a:p>
        </p:txBody>
      </p:sp>
      <p:sp>
        <p:nvSpPr>
          <p:cNvPr id="22" name="Triangle isocèle 21">
            <a:extLst>
              <a:ext uri="{FF2B5EF4-FFF2-40B4-BE49-F238E27FC236}">
                <a16:creationId xmlns:a16="http://schemas.microsoft.com/office/drawing/2014/main" id="{4E2B194B-64B5-4CDD-861D-E1E47B3CEFF5}"/>
              </a:ext>
            </a:extLst>
          </p:cNvPr>
          <p:cNvSpPr/>
          <p:nvPr/>
        </p:nvSpPr>
        <p:spPr>
          <a:xfrm>
            <a:off x="8708683" y="2744707"/>
            <a:ext cx="216011" cy="289414"/>
          </a:xfrm>
          <a:prstGeom prst="triangl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385511D8-0088-44D1-B93C-0ACF283D8DFE}"/>
              </a:ext>
            </a:extLst>
          </p:cNvPr>
          <p:cNvSpPr txBox="1"/>
          <p:nvPr/>
        </p:nvSpPr>
        <p:spPr>
          <a:xfrm>
            <a:off x="1919536" y="3167897"/>
            <a:ext cx="1336935" cy="369332"/>
          </a:xfrm>
          <a:prstGeom prst="rect">
            <a:avLst/>
          </a:prstGeom>
          <a:solidFill>
            <a:schemeClr val="accent5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GRSG-115</a:t>
            </a:r>
            <a:endParaRPr lang="en-GB" dirty="0"/>
          </a:p>
        </p:txBody>
      </p:sp>
      <p:sp>
        <p:nvSpPr>
          <p:cNvPr id="25" name="Triangle isocèle 24">
            <a:extLst>
              <a:ext uri="{FF2B5EF4-FFF2-40B4-BE49-F238E27FC236}">
                <a16:creationId xmlns:a16="http://schemas.microsoft.com/office/drawing/2014/main" id="{F3D202CF-E547-4014-AC56-8064D3C842DE}"/>
              </a:ext>
            </a:extLst>
          </p:cNvPr>
          <p:cNvSpPr/>
          <p:nvPr/>
        </p:nvSpPr>
        <p:spPr>
          <a:xfrm>
            <a:off x="2464383" y="2708920"/>
            <a:ext cx="216011" cy="289414"/>
          </a:xfrm>
          <a:prstGeom prst="triangl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riangle isocèle 26">
            <a:extLst>
              <a:ext uri="{FF2B5EF4-FFF2-40B4-BE49-F238E27FC236}">
                <a16:creationId xmlns:a16="http://schemas.microsoft.com/office/drawing/2014/main" id="{82D8D422-5594-400C-83D7-B0236E326F31}"/>
              </a:ext>
            </a:extLst>
          </p:cNvPr>
          <p:cNvSpPr/>
          <p:nvPr/>
        </p:nvSpPr>
        <p:spPr>
          <a:xfrm rot="10800000">
            <a:off x="3863765" y="2407396"/>
            <a:ext cx="216011" cy="289414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riangle isocèle 30">
            <a:extLst>
              <a:ext uri="{FF2B5EF4-FFF2-40B4-BE49-F238E27FC236}">
                <a16:creationId xmlns:a16="http://schemas.microsoft.com/office/drawing/2014/main" id="{94CACA8D-72E2-4F3F-B55D-1988AF36E808}"/>
              </a:ext>
            </a:extLst>
          </p:cNvPr>
          <p:cNvSpPr/>
          <p:nvPr/>
        </p:nvSpPr>
        <p:spPr>
          <a:xfrm rot="10800000">
            <a:off x="2279589" y="2408778"/>
            <a:ext cx="216011" cy="289414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2C7A09F9-CD88-4C7A-BB91-BC3EE90FDBD9}"/>
              </a:ext>
            </a:extLst>
          </p:cNvPr>
          <p:cNvSpPr txBox="1"/>
          <p:nvPr/>
        </p:nvSpPr>
        <p:spPr>
          <a:xfrm>
            <a:off x="3373150" y="1862753"/>
            <a:ext cx="12289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GRVA-02</a:t>
            </a:r>
            <a:endParaRPr lang="en-GB" dirty="0"/>
          </a:p>
        </p:txBody>
      </p:sp>
      <p:sp>
        <p:nvSpPr>
          <p:cNvPr id="33" name="Triangle isocèle 32">
            <a:extLst>
              <a:ext uri="{FF2B5EF4-FFF2-40B4-BE49-F238E27FC236}">
                <a16:creationId xmlns:a16="http://schemas.microsoft.com/office/drawing/2014/main" id="{53B4DD91-1AA7-43AB-8769-7A005E5C904B}"/>
              </a:ext>
            </a:extLst>
          </p:cNvPr>
          <p:cNvSpPr/>
          <p:nvPr/>
        </p:nvSpPr>
        <p:spPr>
          <a:xfrm rot="10800000">
            <a:off x="6730631" y="2389467"/>
            <a:ext cx="216011" cy="289414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9F917487-F533-487E-90DC-1C1790DFE447}"/>
              </a:ext>
            </a:extLst>
          </p:cNvPr>
          <p:cNvSpPr txBox="1"/>
          <p:nvPr/>
        </p:nvSpPr>
        <p:spPr>
          <a:xfrm>
            <a:off x="6240016" y="1844824"/>
            <a:ext cx="12289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GRVA-03</a:t>
            </a:r>
            <a:endParaRPr lang="en-GB" dirty="0"/>
          </a:p>
        </p:txBody>
      </p:sp>
      <p:sp>
        <p:nvSpPr>
          <p:cNvPr id="35" name="Triangle isocèle 34">
            <a:extLst>
              <a:ext uri="{FF2B5EF4-FFF2-40B4-BE49-F238E27FC236}">
                <a16:creationId xmlns:a16="http://schemas.microsoft.com/office/drawing/2014/main" id="{58995F8E-7DA9-4E58-9099-21ADE3D63BC8}"/>
              </a:ext>
            </a:extLst>
          </p:cNvPr>
          <p:cNvSpPr/>
          <p:nvPr/>
        </p:nvSpPr>
        <p:spPr>
          <a:xfrm rot="10800000">
            <a:off x="8382048" y="2389467"/>
            <a:ext cx="216011" cy="289414"/>
          </a:xfrm>
          <a:prstGeom prst="triangle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F1646CEE-74A7-41BE-A3A1-42461C56E298}"/>
              </a:ext>
            </a:extLst>
          </p:cNvPr>
          <p:cNvSpPr txBox="1"/>
          <p:nvPr/>
        </p:nvSpPr>
        <p:spPr>
          <a:xfrm>
            <a:off x="7891433" y="1844824"/>
            <a:ext cx="1228903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GRVA-04</a:t>
            </a:r>
            <a:endParaRPr lang="en-GB" dirty="0"/>
          </a:p>
        </p:txBody>
      </p:sp>
      <p:sp>
        <p:nvSpPr>
          <p:cNvPr id="37" name="Triangle isocèle 36">
            <a:extLst>
              <a:ext uri="{FF2B5EF4-FFF2-40B4-BE49-F238E27FC236}">
                <a16:creationId xmlns:a16="http://schemas.microsoft.com/office/drawing/2014/main" id="{16DDFA5E-0D85-42A4-BA9C-B374EA34037C}"/>
              </a:ext>
            </a:extLst>
          </p:cNvPr>
          <p:cNvSpPr/>
          <p:nvPr/>
        </p:nvSpPr>
        <p:spPr>
          <a:xfrm rot="10800000">
            <a:off x="3071677" y="2402959"/>
            <a:ext cx="216011" cy="289414"/>
          </a:xfrm>
          <a:prstGeom prst="triangl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F8E8B2C5-1791-4888-86B3-FCF24FF59643}"/>
              </a:ext>
            </a:extLst>
          </p:cNvPr>
          <p:cNvSpPr txBox="1"/>
          <p:nvPr/>
        </p:nvSpPr>
        <p:spPr>
          <a:xfrm>
            <a:off x="2562841" y="1484784"/>
            <a:ext cx="1386689" cy="369332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WP29-176</a:t>
            </a:r>
            <a:endParaRPr lang="en-GB" dirty="0"/>
          </a:p>
        </p:txBody>
      </p:sp>
      <p:cxnSp>
        <p:nvCxnSpPr>
          <p:cNvPr id="41" name="Connecteur droit 40">
            <a:extLst>
              <a:ext uri="{FF2B5EF4-FFF2-40B4-BE49-F238E27FC236}">
                <a16:creationId xmlns:a16="http://schemas.microsoft.com/office/drawing/2014/main" id="{48D07D88-E667-4154-8336-05FF2AD3FF81}"/>
              </a:ext>
            </a:extLst>
          </p:cNvPr>
          <p:cNvCxnSpPr>
            <a:cxnSpLocks/>
          </p:cNvCxnSpPr>
          <p:nvPr/>
        </p:nvCxnSpPr>
        <p:spPr>
          <a:xfrm flipV="1">
            <a:off x="3193322" y="1844824"/>
            <a:ext cx="4429" cy="4213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riangle isocèle 44">
            <a:extLst>
              <a:ext uri="{FF2B5EF4-FFF2-40B4-BE49-F238E27FC236}">
                <a16:creationId xmlns:a16="http://schemas.microsoft.com/office/drawing/2014/main" id="{A50BBD49-B0AD-4D33-9A01-4F9E7586A81D}"/>
              </a:ext>
            </a:extLst>
          </p:cNvPr>
          <p:cNvSpPr/>
          <p:nvPr/>
        </p:nvSpPr>
        <p:spPr>
          <a:xfrm rot="10800000">
            <a:off x="5290155" y="2402959"/>
            <a:ext cx="216011" cy="289414"/>
          </a:xfrm>
          <a:prstGeom prst="triangl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1B9DD451-F9B7-4388-83B5-8A8F47F6E5D4}"/>
              </a:ext>
            </a:extLst>
          </p:cNvPr>
          <p:cNvSpPr txBox="1"/>
          <p:nvPr/>
        </p:nvSpPr>
        <p:spPr>
          <a:xfrm>
            <a:off x="4781319" y="1484784"/>
            <a:ext cx="1386689" cy="369332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WP29-177</a:t>
            </a:r>
            <a:endParaRPr lang="en-GB" dirty="0"/>
          </a:p>
        </p:txBody>
      </p: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47FB80EC-1B34-4461-9A62-5B08A42851B6}"/>
              </a:ext>
            </a:extLst>
          </p:cNvPr>
          <p:cNvCxnSpPr>
            <a:cxnSpLocks/>
          </p:cNvCxnSpPr>
          <p:nvPr/>
        </p:nvCxnSpPr>
        <p:spPr>
          <a:xfrm flipV="1">
            <a:off x="5411800" y="1844824"/>
            <a:ext cx="4429" cy="4213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riangle isocèle 47">
            <a:extLst>
              <a:ext uri="{FF2B5EF4-FFF2-40B4-BE49-F238E27FC236}">
                <a16:creationId xmlns:a16="http://schemas.microsoft.com/office/drawing/2014/main" id="{8A4BB6BA-A8E1-4A67-A8CA-401F547BF9D9}"/>
              </a:ext>
            </a:extLst>
          </p:cNvPr>
          <p:cNvSpPr/>
          <p:nvPr/>
        </p:nvSpPr>
        <p:spPr>
          <a:xfrm rot="10800000">
            <a:off x="7180900" y="2402959"/>
            <a:ext cx="216011" cy="289414"/>
          </a:xfrm>
          <a:prstGeom prst="triangl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9" name="ZoneTexte 48">
            <a:extLst>
              <a:ext uri="{FF2B5EF4-FFF2-40B4-BE49-F238E27FC236}">
                <a16:creationId xmlns:a16="http://schemas.microsoft.com/office/drawing/2014/main" id="{0E05899B-6766-438C-8BAD-441987CF291A}"/>
              </a:ext>
            </a:extLst>
          </p:cNvPr>
          <p:cNvSpPr txBox="1"/>
          <p:nvPr/>
        </p:nvSpPr>
        <p:spPr>
          <a:xfrm>
            <a:off x="6672064" y="1484784"/>
            <a:ext cx="1386689" cy="369332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WP29-178</a:t>
            </a:r>
            <a:endParaRPr lang="en-GB" dirty="0"/>
          </a:p>
        </p:txBody>
      </p:sp>
      <p:cxnSp>
        <p:nvCxnSpPr>
          <p:cNvPr id="50" name="Connecteur droit 49">
            <a:extLst>
              <a:ext uri="{FF2B5EF4-FFF2-40B4-BE49-F238E27FC236}">
                <a16:creationId xmlns:a16="http://schemas.microsoft.com/office/drawing/2014/main" id="{CCE8E6EC-4607-4D4E-99AD-A87A76962E85}"/>
              </a:ext>
            </a:extLst>
          </p:cNvPr>
          <p:cNvCxnSpPr>
            <a:cxnSpLocks/>
          </p:cNvCxnSpPr>
          <p:nvPr/>
        </p:nvCxnSpPr>
        <p:spPr>
          <a:xfrm flipV="1">
            <a:off x="7302545" y="1844824"/>
            <a:ext cx="4429" cy="4213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riangle isocèle 50">
            <a:extLst>
              <a:ext uri="{FF2B5EF4-FFF2-40B4-BE49-F238E27FC236}">
                <a16:creationId xmlns:a16="http://schemas.microsoft.com/office/drawing/2014/main" id="{8B06C032-2B0B-488C-8A37-08A7EF15C909}"/>
              </a:ext>
            </a:extLst>
          </p:cNvPr>
          <p:cNvSpPr/>
          <p:nvPr/>
        </p:nvSpPr>
        <p:spPr>
          <a:xfrm rot="10800000">
            <a:off x="9250595" y="2402959"/>
            <a:ext cx="216011" cy="289414"/>
          </a:xfrm>
          <a:prstGeom prst="triangl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" name="ZoneTexte 51">
            <a:extLst>
              <a:ext uri="{FF2B5EF4-FFF2-40B4-BE49-F238E27FC236}">
                <a16:creationId xmlns:a16="http://schemas.microsoft.com/office/drawing/2014/main" id="{F3B6241F-51AB-4442-B537-6E9D6AAEA163}"/>
              </a:ext>
            </a:extLst>
          </p:cNvPr>
          <p:cNvSpPr txBox="1"/>
          <p:nvPr/>
        </p:nvSpPr>
        <p:spPr>
          <a:xfrm>
            <a:off x="8741759" y="1484784"/>
            <a:ext cx="1386689" cy="369332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WP29-179</a:t>
            </a:r>
            <a:endParaRPr lang="en-GB" dirty="0"/>
          </a:p>
        </p:txBody>
      </p: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F9E28498-4D4E-4CB0-9ED3-B5E20FC23611}"/>
              </a:ext>
            </a:extLst>
          </p:cNvPr>
          <p:cNvCxnSpPr>
            <a:cxnSpLocks/>
          </p:cNvCxnSpPr>
          <p:nvPr/>
        </p:nvCxnSpPr>
        <p:spPr>
          <a:xfrm flipV="1">
            <a:off x="9372240" y="1844824"/>
            <a:ext cx="4429" cy="4213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ZoneTexte 57">
            <a:extLst>
              <a:ext uri="{FF2B5EF4-FFF2-40B4-BE49-F238E27FC236}">
                <a16:creationId xmlns:a16="http://schemas.microsoft.com/office/drawing/2014/main" id="{42493891-6141-4CAF-B12B-8FAA32EBF70D}"/>
              </a:ext>
            </a:extLst>
          </p:cNvPr>
          <p:cNvSpPr txBox="1"/>
          <p:nvPr/>
        </p:nvSpPr>
        <p:spPr>
          <a:xfrm>
            <a:off x="4655846" y="4149080"/>
            <a:ext cx="1781976" cy="2585323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GB" dirty="0"/>
              <a:t>Proposals t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reate new GRVA inf g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One of them dedicated to the DSS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llocate EDR to GRSG</a:t>
            </a:r>
          </a:p>
        </p:txBody>
      </p:sp>
      <p:sp>
        <p:nvSpPr>
          <p:cNvPr id="60" name="Triangle isocèle 59">
            <a:extLst>
              <a:ext uri="{FF2B5EF4-FFF2-40B4-BE49-F238E27FC236}">
                <a16:creationId xmlns:a16="http://schemas.microsoft.com/office/drawing/2014/main" id="{0F36EB3D-BF92-4FB0-8091-014480E1C040}"/>
              </a:ext>
            </a:extLst>
          </p:cNvPr>
          <p:cNvSpPr/>
          <p:nvPr/>
        </p:nvSpPr>
        <p:spPr>
          <a:xfrm rot="10800000">
            <a:off x="7533948" y="2420173"/>
            <a:ext cx="216011" cy="289414"/>
          </a:xfrm>
          <a:prstGeom prst="triangl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" name="Triangle isocèle 60">
            <a:extLst>
              <a:ext uri="{FF2B5EF4-FFF2-40B4-BE49-F238E27FC236}">
                <a16:creationId xmlns:a16="http://schemas.microsoft.com/office/drawing/2014/main" id="{5F3FAB29-1089-4BFD-A1A0-D346D8D7F0E2}"/>
              </a:ext>
            </a:extLst>
          </p:cNvPr>
          <p:cNvSpPr/>
          <p:nvPr/>
        </p:nvSpPr>
        <p:spPr>
          <a:xfrm rot="10800000">
            <a:off x="8832303" y="2410443"/>
            <a:ext cx="216011" cy="289414"/>
          </a:xfrm>
          <a:prstGeom prst="triangl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2" name="Triangle isocèle 61">
            <a:extLst>
              <a:ext uri="{FF2B5EF4-FFF2-40B4-BE49-F238E27FC236}">
                <a16:creationId xmlns:a16="http://schemas.microsoft.com/office/drawing/2014/main" id="{2AE66356-ECF5-402F-84ED-DFAEB0DB6C64}"/>
              </a:ext>
            </a:extLst>
          </p:cNvPr>
          <p:cNvSpPr/>
          <p:nvPr/>
        </p:nvSpPr>
        <p:spPr>
          <a:xfrm rot="10800000">
            <a:off x="3699955" y="2394465"/>
            <a:ext cx="216011" cy="289414"/>
          </a:xfrm>
          <a:prstGeom prst="triangl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3" name="Triangle isocèle 62">
            <a:extLst>
              <a:ext uri="{FF2B5EF4-FFF2-40B4-BE49-F238E27FC236}">
                <a16:creationId xmlns:a16="http://schemas.microsoft.com/office/drawing/2014/main" id="{A128BD41-A5A0-431D-87C9-5BEA85E02306}"/>
              </a:ext>
            </a:extLst>
          </p:cNvPr>
          <p:cNvSpPr/>
          <p:nvPr/>
        </p:nvSpPr>
        <p:spPr>
          <a:xfrm>
            <a:off x="3742233" y="2702676"/>
            <a:ext cx="216011" cy="289414"/>
          </a:xfrm>
          <a:prstGeom prst="triangl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4" name="Triangle isocèle 63">
            <a:extLst>
              <a:ext uri="{FF2B5EF4-FFF2-40B4-BE49-F238E27FC236}">
                <a16:creationId xmlns:a16="http://schemas.microsoft.com/office/drawing/2014/main" id="{F06CD0CF-58DE-4868-A447-62CA3DD47871}"/>
              </a:ext>
            </a:extLst>
          </p:cNvPr>
          <p:cNvSpPr/>
          <p:nvPr/>
        </p:nvSpPr>
        <p:spPr>
          <a:xfrm rot="10800000">
            <a:off x="5537865" y="2401576"/>
            <a:ext cx="216011" cy="289414"/>
          </a:xfrm>
          <a:prstGeom prst="triangl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5" name="Triangle isocèle 64">
            <a:extLst>
              <a:ext uri="{FF2B5EF4-FFF2-40B4-BE49-F238E27FC236}">
                <a16:creationId xmlns:a16="http://schemas.microsoft.com/office/drawing/2014/main" id="{C45AEAF1-23B1-49C7-8F17-C59C30EF91EF}"/>
              </a:ext>
            </a:extLst>
          </p:cNvPr>
          <p:cNvSpPr/>
          <p:nvPr/>
        </p:nvSpPr>
        <p:spPr>
          <a:xfrm>
            <a:off x="5837360" y="2707086"/>
            <a:ext cx="216011" cy="289414"/>
          </a:xfrm>
          <a:prstGeom prst="triangl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6" name="Triangle isocèle 65">
            <a:extLst>
              <a:ext uri="{FF2B5EF4-FFF2-40B4-BE49-F238E27FC236}">
                <a16:creationId xmlns:a16="http://schemas.microsoft.com/office/drawing/2014/main" id="{6C490BB8-5933-47D1-902D-417401664311}"/>
              </a:ext>
            </a:extLst>
          </p:cNvPr>
          <p:cNvSpPr/>
          <p:nvPr/>
        </p:nvSpPr>
        <p:spPr>
          <a:xfrm>
            <a:off x="8256240" y="2719965"/>
            <a:ext cx="216011" cy="289414"/>
          </a:xfrm>
          <a:prstGeom prst="triangle">
            <a:avLst/>
          </a:prstGeom>
          <a:solidFill>
            <a:srgbClr val="FF0000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7" name="ZoneTexte 66">
            <a:extLst>
              <a:ext uri="{FF2B5EF4-FFF2-40B4-BE49-F238E27FC236}">
                <a16:creationId xmlns:a16="http://schemas.microsoft.com/office/drawing/2014/main" id="{738958F1-8CA5-49DB-A735-3BD362675CFF}"/>
              </a:ext>
            </a:extLst>
          </p:cNvPr>
          <p:cNvSpPr txBox="1"/>
          <p:nvPr/>
        </p:nvSpPr>
        <p:spPr>
          <a:xfrm>
            <a:off x="2783632" y="4149080"/>
            <a:ext cx="1781976" cy="1477328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D</a:t>
            </a:r>
            <a:r>
              <a:rPr lang="en-GB" dirty="0" err="1"/>
              <a:t>ebates</a:t>
            </a:r>
            <a:r>
              <a:rPr lang="en-GB" dirty="0"/>
              <a:t> 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GRVA stru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GRVA priorities</a:t>
            </a:r>
          </a:p>
        </p:txBody>
      </p:sp>
      <p:cxnSp>
        <p:nvCxnSpPr>
          <p:cNvPr id="68" name="Connecteur droit avec flèche 67">
            <a:extLst>
              <a:ext uri="{FF2B5EF4-FFF2-40B4-BE49-F238E27FC236}">
                <a16:creationId xmlns:a16="http://schemas.microsoft.com/office/drawing/2014/main" id="{1722FBFE-45D0-4813-9BB9-2E10B4417B93}"/>
              </a:ext>
            </a:extLst>
          </p:cNvPr>
          <p:cNvCxnSpPr>
            <a:cxnSpLocks/>
          </p:cNvCxnSpPr>
          <p:nvPr/>
        </p:nvCxnSpPr>
        <p:spPr>
          <a:xfrm>
            <a:off x="3961887" y="2852245"/>
            <a:ext cx="0" cy="122482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ZoneTexte 68">
            <a:extLst>
              <a:ext uri="{FF2B5EF4-FFF2-40B4-BE49-F238E27FC236}">
                <a16:creationId xmlns:a16="http://schemas.microsoft.com/office/drawing/2014/main" id="{EB2F693F-DA6A-464A-ADD7-53647C66E3CF}"/>
              </a:ext>
            </a:extLst>
          </p:cNvPr>
          <p:cNvSpPr txBox="1"/>
          <p:nvPr/>
        </p:nvSpPr>
        <p:spPr>
          <a:xfrm>
            <a:off x="1433709" y="5787846"/>
            <a:ext cx="3006107" cy="92333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Good communication </a:t>
            </a:r>
            <a:r>
              <a:rPr lang="fr-FR" dirty="0" err="1"/>
              <a:t>between</a:t>
            </a:r>
            <a:r>
              <a:rPr lang="fr-FR" dirty="0"/>
              <a:t> the </a:t>
            </a:r>
            <a:r>
              <a:rPr lang="fr-FR" dirty="0" err="1"/>
              <a:t>GRs</a:t>
            </a:r>
            <a:r>
              <a:rPr lang="fr-FR" dirty="0"/>
              <a:t> </a:t>
            </a:r>
          </a:p>
          <a:p>
            <a:r>
              <a:rPr lang="fr-FR" dirty="0"/>
              <a:t>WP29 to </a:t>
            </a:r>
            <a:r>
              <a:rPr lang="fr-FR" dirty="0" err="1"/>
              <a:t>be</a:t>
            </a:r>
            <a:r>
              <a:rPr lang="fr-FR" dirty="0"/>
              <a:t> the hub</a:t>
            </a:r>
            <a:endParaRPr lang="en-GB" dirty="0"/>
          </a:p>
        </p:txBody>
      </p:sp>
      <p:sp>
        <p:nvSpPr>
          <p:cNvPr id="74" name="Triangle isocèle 73">
            <a:extLst>
              <a:ext uri="{FF2B5EF4-FFF2-40B4-BE49-F238E27FC236}">
                <a16:creationId xmlns:a16="http://schemas.microsoft.com/office/drawing/2014/main" id="{6CAEFD67-3DBB-4117-974B-986A7552FB31}"/>
              </a:ext>
            </a:extLst>
          </p:cNvPr>
          <p:cNvSpPr/>
          <p:nvPr/>
        </p:nvSpPr>
        <p:spPr>
          <a:xfrm rot="10800000">
            <a:off x="5430145" y="2403041"/>
            <a:ext cx="216011" cy="289414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5" name="Triangle isocèle 74">
            <a:extLst>
              <a:ext uri="{FF2B5EF4-FFF2-40B4-BE49-F238E27FC236}">
                <a16:creationId xmlns:a16="http://schemas.microsoft.com/office/drawing/2014/main" id="{A42D24CB-2713-40E4-8AE0-10EE7BD1D15A}"/>
              </a:ext>
            </a:extLst>
          </p:cNvPr>
          <p:cNvSpPr/>
          <p:nvPr/>
        </p:nvSpPr>
        <p:spPr>
          <a:xfrm rot="10800000">
            <a:off x="2413498" y="2415509"/>
            <a:ext cx="216011" cy="289414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Triangle isocèle 75">
            <a:extLst>
              <a:ext uri="{FF2B5EF4-FFF2-40B4-BE49-F238E27FC236}">
                <a16:creationId xmlns:a16="http://schemas.microsoft.com/office/drawing/2014/main" id="{0E75710F-3844-4D9A-B6F5-E5AA9D305BAA}"/>
              </a:ext>
            </a:extLst>
          </p:cNvPr>
          <p:cNvSpPr/>
          <p:nvPr/>
        </p:nvSpPr>
        <p:spPr>
          <a:xfrm rot="10800000">
            <a:off x="8539368" y="2392429"/>
            <a:ext cx="216011" cy="289414"/>
          </a:xfrm>
          <a:prstGeom prst="triangl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tate of </a:t>
            </a:r>
            <a:r>
              <a:rPr lang="fr-FR" dirty="0" err="1"/>
              <a:t>play</a:t>
            </a:r>
            <a:r>
              <a:rPr lang="fr-FR" dirty="0"/>
              <a:t> at GRVA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911424" y="1417638"/>
            <a:ext cx="10742984" cy="5035698"/>
          </a:xfrm>
        </p:spPr>
        <p:txBody>
          <a:bodyPr/>
          <a:lstStyle/>
          <a:p>
            <a:r>
              <a:rPr lang="en-GB" dirty="0"/>
              <a:t>ALKS</a:t>
            </a:r>
          </a:p>
          <a:p>
            <a:pPr lvl="1"/>
            <a:r>
              <a:rPr lang="en-GB" dirty="0"/>
              <a:t>Entry in and exit from the transition phase</a:t>
            </a:r>
          </a:p>
          <a:p>
            <a:pPr lvl="1"/>
            <a:r>
              <a:rPr lang="en-GB" dirty="0"/>
              <a:t>Which support can the driver still have from the system when he overrides the ADS?</a:t>
            </a:r>
          </a:p>
          <a:p>
            <a:pPr lvl="1"/>
            <a:r>
              <a:rPr lang="en-GB" dirty="0"/>
              <a:t>Which control to activate LKAS, which information on status?</a:t>
            </a:r>
          </a:p>
          <a:p>
            <a:pPr lvl="1"/>
            <a:r>
              <a:rPr lang="en-GB" dirty="0"/>
              <a:t>DSSAD</a:t>
            </a:r>
          </a:p>
          <a:p>
            <a:r>
              <a:rPr lang="en-GB" dirty="0"/>
              <a:t>VMAD</a:t>
            </a:r>
          </a:p>
          <a:p>
            <a:pPr lvl="1"/>
            <a:r>
              <a:rPr lang="en-GB" dirty="0">
                <a:solidFill>
                  <a:srgbClr val="FF0000"/>
                </a:solidFill>
              </a:rPr>
              <a:t>3-pillar approach</a:t>
            </a:r>
          </a:p>
          <a:p>
            <a:pPr lvl="1"/>
            <a:r>
              <a:rPr lang="en-GB" dirty="0"/>
              <a:t>Audit? CEL?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/>
          <p:cNvSpPr/>
          <p:nvPr/>
        </p:nvSpPr>
        <p:spPr>
          <a:xfrm>
            <a:off x="10183605" y="1346307"/>
            <a:ext cx="2024126" cy="504056"/>
          </a:xfrm>
          <a:prstGeom prst="rect">
            <a:avLst/>
          </a:prstGeom>
          <a:solidFill>
            <a:srgbClr val="002060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10114223" y="1484323"/>
            <a:ext cx="2024124" cy="504056"/>
          </a:xfrm>
          <a:prstGeom prst="rect">
            <a:avLst/>
          </a:prstGeom>
          <a:solidFill>
            <a:srgbClr val="9E9E9E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chemeClr val="bg1"/>
                </a:solidFill>
                <a:sym typeface="Wingdings" panose="05000000000000000000" pitchFamily="2" charset="2"/>
              </a:rPr>
              <a:t>   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0106706" y="3307935"/>
            <a:ext cx="2024126" cy="504056"/>
          </a:xfrm>
          <a:prstGeom prst="rect">
            <a:avLst/>
          </a:prstGeom>
          <a:solidFill>
            <a:srgbClr val="002060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solidFill>
                <a:schemeClr val="bg1"/>
              </a:solidFill>
            </a:endParaRPr>
          </a:p>
        </p:txBody>
      </p:sp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5" imgW="470" imgH="469" progId="TCLayout.ActiveDocument.1">
                  <p:embed/>
                </p:oleObj>
              </mc:Choice>
              <mc:Fallback>
                <p:oleObj name="think-cell Folie" r:id="rId5" imgW="470" imgH="469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7" name="Freihandform 56"/>
          <p:cNvSpPr/>
          <p:nvPr/>
        </p:nvSpPr>
        <p:spPr>
          <a:xfrm rot="10800000" flipV="1">
            <a:off x="1404511" y="1517484"/>
            <a:ext cx="2549989" cy="4792931"/>
          </a:xfrm>
          <a:custGeom>
            <a:avLst/>
            <a:gdLst>
              <a:gd name="connsiteX0" fmla="*/ 0 w 5599612"/>
              <a:gd name="connsiteY0" fmla="*/ 8699 h 26097"/>
              <a:gd name="connsiteX1" fmla="*/ 2931298 w 5599612"/>
              <a:gd name="connsiteY1" fmla="*/ 8699 h 26097"/>
              <a:gd name="connsiteX2" fmla="*/ 5305912 w 5599612"/>
              <a:gd name="connsiteY2" fmla="*/ 0 h 26097"/>
              <a:gd name="connsiteX3" fmla="*/ 5479876 w 5599612"/>
              <a:gd name="connsiteY3" fmla="*/ 26097 h 26097"/>
              <a:gd name="connsiteX0" fmla="*/ 0 w 5305912"/>
              <a:gd name="connsiteY0" fmla="*/ 8699 h 8699"/>
              <a:gd name="connsiteX1" fmla="*/ 2931298 w 5305912"/>
              <a:gd name="connsiteY1" fmla="*/ 8699 h 8699"/>
              <a:gd name="connsiteX2" fmla="*/ 5305912 w 5305912"/>
              <a:gd name="connsiteY2" fmla="*/ 0 h 8699"/>
              <a:gd name="connsiteX0" fmla="*/ 0 w 10000"/>
              <a:gd name="connsiteY0" fmla="*/ 1159987 h 1159987"/>
              <a:gd name="connsiteX1" fmla="*/ 5050 w 10000"/>
              <a:gd name="connsiteY1" fmla="*/ 0 h 1159987"/>
              <a:gd name="connsiteX2" fmla="*/ 10000 w 10000"/>
              <a:gd name="connsiteY2" fmla="*/ 1149987 h 1159987"/>
              <a:gd name="connsiteX0" fmla="*/ 0 w 10000"/>
              <a:gd name="connsiteY0" fmla="*/ 1237792 h 1237792"/>
              <a:gd name="connsiteX1" fmla="*/ 5050 w 10000"/>
              <a:gd name="connsiteY1" fmla="*/ 77805 h 1237792"/>
              <a:gd name="connsiteX2" fmla="*/ 10000 w 10000"/>
              <a:gd name="connsiteY2" fmla="*/ 1227792 h 1237792"/>
              <a:gd name="connsiteX0" fmla="*/ 0 w 10000"/>
              <a:gd name="connsiteY0" fmla="*/ 1162744 h 1162744"/>
              <a:gd name="connsiteX1" fmla="*/ 5050 w 10000"/>
              <a:gd name="connsiteY1" fmla="*/ 2757 h 1162744"/>
              <a:gd name="connsiteX2" fmla="*/ 10000 w 10000"/>
              <a:gd name="connsiteY2" fmla="*/ 1152744 h 1162744"/>
              <a:gd name="connsiteX0" fmla="*/ 0 w 10000"/>
              <a:gd name="connsiteY0" fmla="*/ 1159998 h 1159998"/>
              <a:gd name="connsiteX1" fmla="*/ 5050 w 10000"/>
              <a:gd name="connsiteY1" fmla="*/ 11 h 1159998"/>
              <a:gd name="connsiteX2" fmla="*/ 10000 w 10000"/>
              <a:gd name="connsiteY2" fmla="*/ 1149998 h 1159998"/>
              <a:gd name="connsiteX0" fmla="*/ 0 w 10000"/>
              <a:gd name="connsiteY0" fmla="*/ 1159990 h 1210000"/>
              <a:gd name="connsiteX1" fmla="*/ 5721 w 10000"/>
              <a:gd name="connsiteY1" fmla="*/ 1139991 h 1210000"/>
              <a:gd name="connsiteX2" fmla="*/ 5050 w 10000"/>
              <a:gd name="connsiteY2" fmla="*/ 3 h 1210000"/>
              <a:gd name="connsiteX3" fmla="*/ 10000 w 10000"/>
              <a:gd name="connsiteY3" fmla="*/ 1149990 h 1210000"/>
              <a:gd name="connsiteX0" fmla="*/ 0 w 10000"/>
              <a:gd name="connsiteY0" fmla="*/ 1159990 h 1227442"/>
              <a:gd name="connsiteX1" fmla="*/ 5721 w 10000"/>
              <a:gd name="connsiteY1" fmla="*/ 1139991 h 1227442"/>
              <a:gd name="connsiteX2" fmla="*/ 5050 w 10000"/>
              <a:gd name="connsiteY2" fmla="*/ 3 h 1227442"/>
              <a:gd name="connsiteX3" fmla="*/ 10000 w 10000"/>
              <a:gd name="connsiteY3" fmla="*/ 1149990 h 1227442"/>
              <a:gd name="connsiteX0" fmla="*/ 0 w 10000"/>
              <a:gd name="connsiteY0" fmla="*/ 1159989 h 1159988"/>
              <a:gd name="connsiteX1" fmla="*/ 5721 w 10000"/>
              <a:gd name="connsiteY1" fmla="*/ 1139990 h 1159988"/>
              <a:gd name="connsiteX2" fmla="*/ 5050 w 10000"/>
              <a:gd name="connsiteY2" fmla="*/ 2 h 1159988"/>
              <a:gd name="connsiteX3" fmla="*/ 10000 w 10000"/>
              <a:gd name="connsiteY3" fmla="*/ 1149989 h 1159988"/>
              <a:gd name="connsiteX0" fmla="*/ 0 w 10000"/>
              <a:gd name="connsiteY0" fmla="*/ 1159989 h 1159989"/>
              <a:gd name="connsiteX1" fmla="*/ 5721 w 10000"/>
              <a:gd name="connsiteY1" fmla="*/ 1139990 h 1159989"/>
              <a:gd name="connsiteX2" fmla="*/ 5050 w 10000"/>
              <a:gd name="connsiteY2" fmla="*/ 2 h 1159989"/>
              <a:gd name="connsiteX3" fmla="*/ 10000 w 10000"/>
              <a:gd name="connsiteY3" fmla="*/ 1149989 h 1159989"/>
              <a:gd name="connsiteX0" fmla="*/ 0 w 10000"/>
              <a:gd name="connsiteY0" fmla="*/ 1159989 h 1159989"/>
              <a:gd name="connsiteX1" fmla="*/ 5721 w 10000"/>
              <a:gd name="connsiteY1" fmla="*/ 1139990 h 1159989"/>
              <a:gd name="connsiteX2" fmla="*/ 5050 w 10000"/>
              <a:gd name="connsiteY2" fmla="*/ 2 h 1159989"/>
              <a:gd name="connsiteX3" fmla="*/ 10000 w 10000"/>
              <a:gd name="connsiteY3" fmla="*/ 1149989 h 1159989"/>
              <a:gd name="connsiteX0" fmla="*/ 0 w 10000"/>
              <a:gd name="connsiteY0" fmla="*/ 1139990 h 1208323"/>
              <a:gd name="connsiteX1" fmla="*/ 5721 w 10000"/>
              <a:gd name="connsiteY1" fmla="*/ 1119991 h 1208323"/>
              <a:gd name="connsiteX2" fmla="*/ 6935 w 10000"/>
              <a:gd name="connsiteY2" fmla="*/ 3 h 1208323"/>
              <a:gd name="connsiteX3" fmla="*/ 10000 w 10000"/>
              <a:gd name="connsiteY3" fmla="*/ 1129990 h 1208323"/>
              <a:gd name="connsiteX0" fmla="*/ 0 w 10000"/>
              <a:gd name="connsiteY0" fmla="*/ 1139990 h 1139990"/>
              <a:gd name="connsiteX1" fmla="*/ 5721 w 10000"/>
              <a:gd name="connsiteY1" fmla="*/ 1119991 h 1139990"/>
              <a:gd name="connsiteX2" fmla="*/ 6935 w 10000"/>
              <a:gd name="connsiteY2" fmla="*/ 3 h 1139990"/>
              <a:gd name="connsiteX3" fmla="*/ 10000 w 10000"/>
              <a:gd name="connsiteY3" fmla="*/ 1129990 h 1139990"/>
              <a:gd name="connsiteX0" fmla="*/ 0 w 10000"/>
              <a:gd name="connsiteY0" fmla="*/ 1139990 h 1140315"/>
              <a:gd name="connsiteX1" fmla="*/ 5721 w 10000"/>
              <a:gd name="connsiteY1" fmla="*/ 1119991 h 1140315"/>
              <a:gd name="connsiteX2" fmla="*/ 6935 w 10000"/>
              <a:gd name="connsiteY2" fmla="*/ 3 h 1140315"/>
              <a:gd name="connsiteX3" fmla="*/ 10000 w 10000"/>
              <a:gd name="connsiteY3" fmla="*/ 1129990 h 1140315"/>
              <a:gd name="connsiteX0" fmla="*/ 0 w 4279"/>
              <a:gd name="connsiteY0" fmla="*/ 1119991 h 1129990"/>
              <a:gd name="connsiteX1" fmla="*/ 1214 w 4279"/>
              <a:gd name="connsiteY1" fmla="*/ 3 h 1129990"/>
              <a:gd name="connsiteX2" fmla="*/ 4279 w 4279"/>
              <a:gd name="connsiteY2" fmla="*/ 1129990 h 1129990"/>
              <a:gd name="connsiteX0" fmla="*/ 0 w 10000"/>
              <a:gd name="connsiteY0" fmla="*/ 10173 h 10261"/>
              <a:gd name="connsiteX1" fmla="*/ 1112 w 10000"/>
              <a:gd name="connsiteY1" fmla="*/ 3535 h 10261"/>
              <a:gd name="connsiteX2" fmla="*/ 2837 w 10000"/>
              <a:gd name="connsiteY2" fmla="*/ 261 h 10261"/>
              <a:gd name="connsiteX3" fmla="*/ 10000 w 10000"/>
              <a:gd name="connsiteY3" fmla="*/ 10261 h 10261"/>
              <a:gd name="connsiteX0" fmla="*/ 0 w 10000"/>
              <a:gd name="connsiteY0" fmla="*/ 9448 h 9536"/>
              <a:gd name="connsiteX1" fmla="*/ 1112 w 10000"/>
              <a:gd name="connsiteY1" fmla="*/ 2810 h 9536"/>
              <a:gd name="connsiteX2" fmla="*/ 4446 w 10000"/>
              <a:gd name="connsiteY2" fmla="*/ 332 h 9536"/>
              <a:gd name="connsiteX3" fmla="*/ 10000 w 10000"/>
              <a:gd name="connsiteY3" fmla="*/ 9536 h 9536"/>
              <a:gd name="connsiteX0" fmla="*/ 0 w 10000"/>
              <a:gd name="connsiteY0" fmla="*/ 9826 h 9918"/>
              <a:gd name="connsiteX1" fmla="*/ 1112 w 10000"/>
              <a:gd name="connsiteY1" fmla="*/ 2865 h 9918"/>
              <a:gd name="connsiteX2" fmla="*/ 4254 w 10000"/>
              <a:gd name="connsiteY2" fmla="*/ 359 h 9918"/>
              <a:gd name="connsiteX3" fmla="*/ 10000 w 10000"/>
              <a:gd name="connsiteY3" fmla="*/ 9918 h 9918"/>
              <a:gd name="connsiteX0" fmla="*/ 0 w 10000"/>
              <a:gd name="connsiteY0" fmla="*/ 10648 h 10741"/>
              <a:gd name="connsiteX1" fmla="*/ 1265 w 10000"/>
              <a:gd name="connsiteY1" fmla="*/ 1384 h 10741"/>
              <a:gd name="connsiteX2" fmla="*/ 4254 w 10000"/>
              <a:gd name="connsiteY2" fmla="*/ 1103 h 10741"/>
              <a:gd name="connsiteX3" fmla="*/ 10000 w 10000"/>
              <a:gd name="connsiteY3" fmla="*/ 10741 h 10741"/>
              <a:gd name="connsiteX0" fmla="*/ 0 w 10000"/>
              <a:gd name="connsiteY0" fmla="*/ 10555 h 10648"/>
              <a:gd name="connsiteX1" fmla="*/ 882 w 10000"/>
              <a:gd name="connsiteY1" fmla="*/ 1478 h 10648"/>
              <a:gd name="connsiteX2" fmla="*/ 4254 w 10000"/>
              <a:gd name="connsiteY2" fmla="*/ 1010 h 10648"/>
              <a:gd name="connsiteX3" fmla="*/ 10000 w 10000"/>
              <a:gd name="connsiteY3" fmla="*/ 10648 h 10648"/>
              <a:gd name="connsiteX0" fmla="*/ 0 w 10000"/>
              <a:gd name="connsiteY0" fmla="*/ 10555 h 10648"/>
              <a:gd name="connsiteX1" fmla="*/ 882 w 10000"/>
              <a:gd name="connsiteY1" fmla="*/ 1478 h 10648"/>
              <a:gd name="connsiteX2" fmla="*/ 4254 w 10000"/>
              <a:gd name="connsiteY2" fmla="*/ 1010 h 10648"/>
              <a:gd name="connsiteX3" fmla="*/ 10000 w 10000"/>
              <a:gd name="connsiteY3" fmla="*/ 10648 h 10648"/>
              <a:gd name="connsiteX0" fmla="*/ 0 w 10000"/>
              <a:gd name="connsiteY0" fmla="*/ 10648 h 10741"/>
              <a:gd name="connsiteX1" fmla="*/ 1342 w 10000"/>
              <a:gd name="connsiteY1" fmla="*/ 1384 h 10741"/>
              <a:gd name="connsiteX2" fmla="*/ 4254 w 10000"/>
              <a:gd name="connsiteY2" fmla="*/ 1103 h 10741"/>
              <a:gd name="connsiteX3" fmla="*/ 10000 w 10000"/>
              <a:gd name="connsiteY3" fmla="*/ 10741 h 10741"/>
              <a:gd name="connsiteX0" fmla="*/ 0 w 10000"/>
              <a:gd name="connsiteY0" fmla="*/ 11115 h 11208"/>
              <a:gd name="connsiteX1" fmla="*/ 1342 w 10000"/>
              <a:gd name="connsiteY1" fmla="*/ 1851 h 11208"/>
              <a:gd name="connsiteX2" fmla="*/ 4254 w 10000"/>
              <a:gd name="connsiteY2" fmla="*/ 1570 h 11208"/>
              <a:gd name="connsiteX3" fmla="*/ 10000 w 10000"/>
              <a:gd name="connsiteY3" fmla="*/ 11208 h 11208"/>
              <a:gd name="connsiteX0" fmla="*/ 0 w 10000"/>
              <a:gd name="connsiteY0" fmla="*/ 11115 h 11208"/>
              <a:gd name="connsiteX1" fmla="*/ 1342 w 10000"/>
              <a:gd name="connsiteY1" fmla="*/ 1851 h 11208"/>
              <a:gd name="connsiteX2" fmla="*/ 4254 w 10000"/>
              <a:gd name="connsiteY2" fmla="*/ 1570 h 11208"/>
              <a:gd name="connsiteX3" fmla="*/ 10000 w 10000"/>
              <a:gd name="connsiteY3" fmla="*/ 11208 h 11208"/>
              <a:gd name="connsiteX0" fmla="*/ 0 w 10000"/>
              <a:gd name="connsiteY0" fmla="*/ 11487 h 11580"/>
              <a:gd name="connsiteX1" fmla="*/ 1342 w 10000"/>
              <a:gd name="connsiteY1" fmla="*/ 2223 h 11580"/>
              <a:gd name="connsiteX2" fmla="*/ 4254 w 10000"/>
              <a:gd name="connsiteY2" fmla="*/ 1942 h 11580"/>
              <a:gd name="connsiteX3" fmla="*/ 10000 w 10000"/>
              <a:gd name="connsiteY3" fmla="*/ 11580 h 11580"/>
              <a:gd name="connsiteX0" fmla="*/ 0 w 10000"/>
              <a:gd name="connsiteY0" fmla="*/ 11487 h 11580"/>
              <a:gd name="connsiteX1" fmla="*/ 1342 w 10000"/>
              <a:gd name="connsiteY1" fmla="*/ 2223 h 11580"/>
              <a:gd name="connsiteX2" fmla="*/ 4254 w 10000"/>
              <a:gd name="connsiteY2" fmla="*/ 1942 h 11580"/>
              <a:gd name="connsiteX3" fmla="*/ 10000 w 10000"/>
              <a:gd name="connsiteY3" fmla="*/ 11580 h 11580"/>
              <a:gd name="connsiteX0" fmla="*/ 0 w 10000"/>
              <a:gd name="connsiteY0" fmla="*/ 10638 h 10731"/>
              <a:gd name="connsiteX1" fmla="*/ 882 w 10000"/>
              <a:gd name="connsiteY1" fmla="*/ 2216 h 10731"/>
              <a:gd name="connsiteX2" fmla="*/ 4254 w 10000"/>
              <a:gd name="connsiteY2" fmla="*/ 1093 h 10731"/>
              <a:gd name="connsiteX3" fmla="*/ 10000 w 10000"/>
              <a:gd name="connsiteY3" fmla="*/ 10731 h 10731"/>
              <a:gd name="connsiteX0" fmla="*/ 0 w 10000"/>
              <a:gd name="connsiteY0" fmla="*/ 9379 h 9472"/>
              <a:gd name="connsiteX1" fmla="*/ 882 w 10000"/>
              <a:gd name="connsiteY1" fmla="*/ 957 h 9472"/>
              <a:gd name="connsiteX2" fmla="*/ 4024 w 10000"/>
              <a:gd name="connsiteY2" fmla="*/ 1144 h 9472"/>
              <a:gd name="connsiteX3" fmla="*/ 10000 w 10000"/>
              <a:gd name="connsiteY3" fmla="*/ 9472 h 9472"/>
              <a:gd name="connsiteX0" fmla="*/ 0 w 10000"/>
              <a:gd name="connsiteY0" fmla="*/ 9739 h 9837"/>
              <a:gd name="connsiteX1" fmla="*/ 882 w 10000"/>
              <a:gd name="connsiteY1" fmla="*/ 847 h 9837"/>
              <a:gd name="connsiteX2" fmla="*/ 4024 w 10000"/>
              <a:gd name="connsiteY2" fmla="*/ 1045 h 9837"/>
              <a:gd name="connsiteX3" fmla="*/ 10000 w 10000"/>
              <a:gd name="connsiteY3" fmla="*/ 9837 h 9837"/>
              <a:gd name="connsiteX0" fmla="*/ 0 w 10000"/>
              <a:gd name="connsiteY0" fmla="*/ 9775 h 9875"/>
              <a:gd name="connsiteX1" fmla="*/ 882 w 10000"/>
              <a:gd name="connsiteY1" fmla="*/ 736 h 9875"/>
              <a:gd name="connsiteX2" fmla="*/ 3871 w 10000"/>
              <a:gd name="connsiteY2" fmla="*/ 1238 h 9875"/>
              <a:gd name="connsiteX3" fmla="*/ 10000 w 10000"/>
              <a:gd name="connsiteY3" fmla="*/ 9875 h 9875"/>
              <a:gd name="connsiteX0" fmla="*/ 0 w 10000"/>
              <a:gd name="connsiteY0" fmla="*/ 9981 h 10082"/>
              <a:gd name="connsiteX1" fmla="*/ 882 w 10000"/>
              <a:gd name="connsiteY1" fmla="*/ 827 h 10082"/>
              <a:gd name="connsiteX2" fmla="*/ 4484 w 10000"/>
              <a:gd name="connsiteY2" fmla="*/ 1133 h 10082"/>
              <a:gd name="connsiteX3" fmla="*/ 10000 w 10000"/>
              <a:gd name="connsiteY3" fmla="*/ 10082 h 10082"/>
              <a:gd name="connsiteX0" fmla="*/ 0 w 10000"/>
              <a:gd name="connsiteY0" fmla="*/ 10738 h 10839"/>
              <a:gd name="connsiteX1" fmla="*/ 882 w 10000"/>
              <a:gd name="connsiteY1" fmla="*/ 1584 h 10839"/>
              <a:gd name="connsiteX2" fmla="*/ 4484 w 10000"/>
              <a:gd name="connsiteY2" fmla="*/ 1890 h 10839"/>
              <a:gd name="connsiteX3" fmla="*/ 10000 w 10000"/>
              <a:gd name="connsiteY3" fmla="*/ 10839 h 10839"/>
              <a:gd name="connsiteX0" fmla="*/ 0 w 10000"/>
              <a:gd name="connsiteY0" fmla="*/ 10738 h 10839"/>
              <a:gd name="connsiteX1" fmla="*/ 882 w 10000"/>
              <a:gd name="connsiteY1" fmla="*/ 1584 h 10839"/>
              <a:gd name="connsiteX2" fmla="*/ 4484 w 10000"/>
              <a:gd name="connsiteY2" fmla="*/ 1890 h 10839"/>
              <a:gd name="connsiteX3" fmla="*/ 10000 w 10000"/>
              <a:gd name="connsiteY3" fmla="*/ 10839 h 10839"/>
              <a:gd name="connsiteX0" fmla="*/ 0 w 10000"/>
              <a:gd name="connsiteY0" fmla="*/ 10738 h 10839"/>
              <a:gd name="connsiteX1" fmla="*/ 882 w 10000"/>
              <a:gd name="connsiteY1" fmla="*/ 1584 h 10839"/>
              <a:gd name="connsiteX2" fmla="*/ 4484 w 10000"/>
              <a:gd name="connsiteY2" fmla="*/ 1890 h 10839"/>
              <a:gd name="connsiteX3" fmla="*/ 10000 w 10000"/>
              <a:gd name="connsiteY3" fmla="*/ 10839 h 10839"/>
              <a:gd name="connsiteX0" fmla="*/ 0 w 10000"/>
              <a:gd name="connsiteY0" fmla="*/ 10738 h 10839"/>
              <a:gd name="connsiteX1" fmla="*/ 882 w 10000"/>
              <a:gd name="connsiteY1" fmla="*/ 1584 h 10839"/>
              <a:gd name="connsiteX2" fmla="*/ 4484 w 10000"/>
              <a:gd name="connsiteY2" fmla="*/ 1890 h 10839"/>
              <a:gd name="connsiteX3" fmla="*/ 10000 w 10000"/>
              <a:gd name="connsiteY3" fmla="*/ 10839 h 10839"/>
              <a:gd name="connsiteX0" fmla="*/ 0 w 10000"/>
              <a:gd name="connsiteY0" fmla="*/ 10591 h 10692"/>
              <a:gd name="connsiteX1" fmla="*/ 2720 w 10000"/>
              <a:gd name="connsiteY1" fmla="*/ 1852 h 10692"/>
              <a:gd name="connsiteX2" fmla="*/ 4484 w 10000"/>
              <a:gd name="connsiteY2" fmla="*/ 1743 h 10692"/>
              <a:gd name="connsiteX3" fmla="*/ 10000 w 10000"/>
              <a:gd name="connsiteY3" fmla="*/ 10692 h 10692"/>
              <a:gd name="connsiteX0" fmla="*/ 0 w 10000"/>
              <a:gd name="connsiteY0" fmla="*/ 10260 h 10361"/>
              <a:gd name="connsiteX1" fmla="*/ 2720 w 10000"/>
              <a:gd name="connsiteY1" fmla="*/ 1521 h 10361"/>
              <a:gd name="connsiteX2" fmla="*/ 4484 w 10000"/>
              <a:gd name="connsiteY2" fmla="*/ 1412 h 10361"/>
              <a:gd name="connsiteX3" fmla="*/ 5962 w 10000"/>
              <a:gd name="connsiteY3" fmla="*/ 3226 h 10361"/>
              <a:gd name="connsiteX4" fmla="*/ 10000 w 10000"/>
              <a:gd name="connsiteY4" fmla="*/ 10361 h 10361"/>
              <a:gd name="connsiteX0" fmla="*/ 0 w 10000"/>
              <a:gd name="connsiteY0" fmla="*/ 9805 h 9906"/>
              <a:gd name="connsiteX1" fmla="*/ 2720 w 10000"/>
              <a:gd name="connsiteY1" fmla="*/ 1066 h 9906"/>
              <a:gd name="connsiteX2" fmla="*/ 4015 w 10000"/>
              <a:gd name="connsiteY2" fmla="*/ 334 h 9906"/>
              <a:gd name="connsiteX3" fmla="*/ 5962 w 10000"/>
              <a:gd name="connsiteY3" fmla="*/ 2771 h 9906"/>
              <a:gd name="connsiteX4" fmla="*/ 10000 w 10000"/>
              <a:gd name="connsiteY4" fmla="*/ 9906 h 9906"/>
              <a:gd name="connsiteX0" fmla="*/ 0 w 10000"/>
              <a:gd name="connsiteY0" fmla="*/ 9599 h 9701"/>
              <a:gd name="connsiteX1" fmla="*/ 1742 w 10000"/>
              <a:gd name="connsiteY1" fmla="*/ 4131 h 9701"/>
              <a:gd name="connsiteX2" fmla="*/ 4015 w 10000"/>
              <a:gd name="connsiteY2" fmla="*/ 38 h 9701"/>
              <a:gd name="connsiteX3" fmla="*/ 5962 w 10000"/>
              <a:gd name="connsiteY3" fmla="*/ 2498 h 9701"/>
              <a:gd name="connsiteX4" fmla="*/ 10000 w 10000"/>
              <a:gd name="connsiteY4" fmla="*/ 9701 h 9701"/>
              <a:gd name="connsiteX0" fmla="*/ 0 w 10000"/>
              <a:gd name="connsiteY0" fmla="*/ 9895 h 10000"/>
              <a:gd name="connsiteX1" fmla="*/ 1742 w 10000"/>
              <a:gd name="connsiteY1" fmla="*/ 4258 h 10000"/>
              <a:gd name="connsiteX2" fmla="*/ 4015 w 10000"/>
              <a:gd name="connsiteY2" fmla="*/ 39 h 10000"/>
              <a:gd name="connsiteX3" fmla="*/ 5962 w 10000"/>
              <a:gd name="connsiteY3" fmla="*/ 2575 h 10000"/>
              <a:gd name="connsiteX4" fmla="*/ 10000 w 10000"/>
              <a:gd name="connsiteY4" fmla="*/ 10000 h 10000"/>
              <a:gd name="connsiteX0" fmla="*/ 0 w 10000"/>
              <a:gd name="connsiteY0" fmla="*/ 9861 h 9966"/>
              <a:gd name="connsiteX1" fmla="*/ 3815 w 10000"/>
              <a:gd name="connsiteY1" fmla="*/ 2171 h 9966"/>
              <a:gd name="connsiteX2" fmla="*/ 4015 w 10000"/>
              <a:gd name="connsiteY2" fmla="*/ 5 h 9966"/>
              <a:gd name="connsiteX3" fmla="*/ 5962 w 10000"/>
              <a:gd name="connsiteY3" fmla="*/ 2541 h 9966"/>
              <a:gd name="connsiteX4" fmla="*/ 10000 w 10000"/>
              <a:gd name="connsiteY4" fmla="*/ 9966 h 9966"/>
              <a:gd name="connsiteX0" fmla="*/ 0 w 10000"/>
              <a:gd name="connsiteY0" fmla="*/ 9895 h 10000"/>
              <a:gd name="connsiteX1" fmla="*/ 3815 w 10000"/>
              <a:gd name="connsiteY1" fmla="*/ 2178 h 10000"/>
              <a:gd name="connsiteX2" fmla="*/ 4015 w 10000"/>
              <a:gd name="connsiteY2" fmla="*/ 5 h 10000"/>
              <a:gd name="connsiteX3" fmla="*/ 5962 w 10000"/>
              <a:gd name="connsiteY3" fmla="*/ 2550 h 10000"/>
              <a:gd name="connsiteX4" fmla="*/ 10000 w 10000"/>
              <a:gd name="connsiteY4" fmla="*/ 10000 h 10000"/>
              <a:gd name="connsiteX0" fmla="*/ 0 w 10000"/>
              <a:gd name="connsiteY0" fmla="*/ 9788 h 9893"/>
              <a:gd name="connsiteX1" fmla="*/ 3815 w 10000"/>
              <a:gd name="connsiteY1" fmla="*/ 2071 h 9893"/>
              <a:gd name="connsiteX2" fmla="*/ 4915 w 10000"/>
              <a:gd name="connsiteY2" fmla="*/ 6 h 9893"/>
              <a:gd name="connsiteX3" fmla="*/ 5962 w 10000"/>
              <a:gd name="connsiteY3" fmla="*/ 2443 h 9893"/>
              <a:gd name="connsiteX4" fmla="*/ 10000 w 10000"/>
              <a:gd name="connsiteY4" fmla="*/ 9893 h 9893"/>
              <a:gd name="connsiteX0" fmla="*/ 0 w 10000"/>
              <a:gd name="connsiteY0" fmla="*/ 9894 h 10000"/>
              <a:gd name="connsiteX1" fmla="*/ 3815 w 10000"/>
              <a:gd name="connsiteY1" fmla="*/ 2093 h 10000"/>
              <a:gd name="connsiteX2" fmla="*/ 4915 w 10000"/>
              <a:gd name="connsiteY2" fmla="*/ 6 h 10000"/>
              <a:gd name="connsiteX3" fmla="*/ 7488 w 10000"/>
              <a:gd name="connsiteY3" fmla="*/ 2469 h 10000"/>
              <a:gd name="connsiteX4" fmla="*/ 10000 w 10000"/>
              <a:gd name="connsiteY4" fmla="*/ 10000 h 10000"/>
              <a:gd name="connsiteX0" fmla="*/ 0 w 10000"/>
              <a:gd name="connsiteY0" fmla="*/ 9892 h 9998"/>
              <a:gd name="connsiteX1" fmla="*/ 2407 w 10000"/>
              <a:gd name="connsiteY1" fmla="*/ 2858 h 9998"/>
              <a:gd name="connsiteX2" fmla="*/ 4915 w 10000"/>
              <a:gd name="connsiteY2" fmla="*/ 4 h 9998"/>
              <a:gd name="connsiteX3" fmla="*/ 7488 w 10000"/>
              <a:gd name="connsiteY3" fmla="*/ 2467 h 9998"/>
              <a:gd name="connsiteX4" fmla="*/ 10000 w 10000"/>
              <a:gd name="connsiteY4" fmla="*/ 9998 h 9998"/>
              <a:gd name="connsiteX0" fmla="*/ 0 w 10000"/>
              <a:gd name="connsiteY0" fmla="*/ 9894 h 10000"/>
              <a:gd name="connsiteX1" fmla="*/ 2407 w 10000"/>
              <a:gd name="connsiteY1" fmla="*/ 2859 h 10000"/>
              <a:gd name="connsiteX2" fmla="*/ 4915 w 10000"/>
              <a:gd name="connsiteY2" fmla="*/ 4 h 10000"/>
              <a:gd name="connsiteX3" fmla="*/ 7488 w 10000"/>
              <a:gd name="connsiteY3" fmla="*/ 2467 h 10000"/>
              <a:gd name="connsiteX4" fmla="*/ 10000 w 10000"/>
              <a:gd name="connsiteY4" fmla="*/ 10000 h 10000"/>
              <a:gd name="connsiteX0" fmla="*/ 0 w 10000"/>
              <a:gd name="connsiteY0" fmla="*/ 9966 h 10072"/>
              <a:gd name="connsiteX1" fmla="*/ 2446 w 10000"/>
              <a:gd name="connsiteY1" fmla="*/ 5013 h 10072"/>
              <a:gd name="connsiteX2" fmla="*/ 4915 w 10000"/>
              <a:gd name="connsiteY2" fmla="*/ 76 h 10072"/>
              <a:gd name="connsiteX3" fmla="*/ 7488 w 10000"/>
              <a:gd name="connsiteY3" fmla="*/ 2539 h 10072"/>
              <a:gd name="connsiteX4" fmla="*/ 10000 w 10000"/>
              <a:gd name="connsiteY4" fmla="*/ 10072 h 10072"/>
              <a:gd name="connsiteX0" fmla="*/ 0 w 10000"/>
              <a:gd name="connsiteY0" fmla="*/ 9891 h 9997"/>
              <a:gd name="connsiteX1" fmla="*/ 2446 w 10000"/>
              <a:gd name="connsiteY1" fmla="*/ 4938 h 9997"/>
              <a:gd name="connsiteX2" fmla="*/ 4915 w 10000"/>
              <a:gd name="connsiteY2" fmla="*/ 1 h 9997"/>
              <a:gd name="connsiteX3" fmla="*/ 7488 w 10000"/>
              <a:gd name="connsiteY3" fmla="*/ 5094 h 9997"/>
              <a:gd name="connsiteX4" fmla="*/ 10000 w 10000"/>
              <a:gd name="connsiteY4" fmla="*/ 9997 h 9997"/>
              <a:gd name="connsiteX0" fmla="*/ 0 w 10000"/>
              <a:gd name="connsiteY0" fmla="*/ 9894 h 10000"/>
              <a:gd name="connsiteX1" fmla="*/ 2446 w 10000"/>
              <a:gd name="connsiteY1" fmla="*/ 4939 h 10000"/>
              <a:gd name="connsiteX2" fmla="*/ 4915 w 10000"/>
              <a:gd name="connsiteY2" fmla="*/ 1 h 10000"/>
              <a:gd name="connsiteX3" fmla="*/ 7488 w 10000"/>
              <a:gd name="connsiteY3" fmla="*/ 5096 h 10000"/>
              <a:gd name="connsiteX4" fmla="*/ 10000 w 10000"/>
              <a:gd name="connsiteY4" fmla="*/ 10000 h 10000"/>
              <a:gd name="connsiteX0" fmla="*/ 0 w 10000"/>
              <a:gd name="connsiteY0" fmla="*/ 9913 h 10019"/>
              <a:gd name="connsiteX1" fmla="*/ 2524 w 10000"/>
              <a:gd name="connsiteY1" fmla="*/ 7151 h 10019"/>
              <a:gd name="connsiteX2" fmla="*/ 4915 w 10000"/>
              <a:gd name="connsiteY2" fmla="*/ 20 h 10019"/>
              <a:gd name="connsiteX3" fmla="*/ 7488 w 10000"/>
              <a:gd name="connsiteY3" fmla="*/ 5115 h 10019"/>
              <a:gd name="connsiteX4" fmla="*/ 10000 w 10000"/>
              <a:gd name="connsiteY4" fmla="*/ 10019 h 10019"/>
              <a:gd name="connsiteX0" fmla="*/ 0 w 10000"/>
              <a:gd name="connsiteY0" fmla="*/ 9894 h 10000"/>
              <a:gd name="connsiteX1" fmla="*/ 2524 w 10000"/>
              <a:gd name="connsiteY1" fmla="*/ 7132 h 10000"/>
              <a:gd name="connsiteX2" fmla="*/ 4915 w 10000"/>
              <a:gd name="connsiteY2" fmla="*/ 1 h 10000"/>
              <a:gd name="connsiteX3" fmla="*/ 7410 w 10000"/>
              <a:gd name="connsiteY3" fmla="*/ 7508 h 10000"/>
              <a:gd name="connsiteX4" fmla="*/ 10000 w 10000"/>
              <a:gd name="connsiteY4" fmla="*/ 10000 h 10000"/>
              <a:gd name="connsiteX0" fmla="*/ 0 w 10000"/>
              <a:gd name="connsiteY0" fmla="*/ 9894 h 10000"/>
              <a:gd name="connsiteX1" fmla="*/ 2524 w 10000"/>
              <a:gd name="connsiteY1" fmla="*/ 7132 h 10000"/>
              <a:gd name="connsiteX2" fmla="*/ 4915 w 10000"/>
              <a:gd name="connsiteY2" fmla="*/ 1 h 10000"/>
              <a:gd name="connsiteX3" fmla="*/ 7410 w 10000"/>
              <a:gd name="connsiteY3" fmla="*/ 7508 h 10000"/>
              <a:gd name="connsiteX4" fmla="*/ 10000 w 10000"/>
              <a:gd name="connsiteY4" fmla="*/ 10000 h 10000"/>
              <a:gd name="connsiteX0" fmla="*/ 0 w 10000"/>
              <a:gd name="connsiteY0" fmla="*/ 9894 h 10000"/>
              <a:gd name="connsiteX1" fmla="*/ 2524 w 10000"/>
              <a:gd name="connsiteY1" fmla="*/ 7132 h 10000"/>
              <a:gd name="connsiteX2" fmla="*/ 5111 w 10000"/>
              <a:gd name="connsiteY2" fmla="*/ 1 h 10000"/>
              <a:gd name="connsiteX3" fmla="*/ 7410 w 10000"/>
              <a:gd name="connsiteY3" fmla="*/ 7508 h 10000"/>
              <a:gd name="connsiteX4" fmla="*/ 10000 w 10000"/>
              <a:gd name="connsiteY4" fmla="*/ 10000 h 10000"/>
              <a:gd name="connsiteX0" fmla="*/ 0 w 10000"/>
              <a:gd name="connsiteY0" fmla="*/ 9894 h 10000"/>
              <a:gd name="connsiteX1" fmla="*/ 2524 w 10000"/>
              <a:gd name="connsiteY1" fmla="*/ 7132 h 10000"/>
              <a:gd name="connsiteX2" fmla="*/ 5111 w 10000"/>
              <a:gd name="connsiteY2" fmla="*/ 1 h 10000"/>
              <a:gd name="connsiteX3" fmla="*/ 7410 w 10000"/>
              <a:gd name="connsiteY3" fmla="*/ 7508 h 10000"/>
              <a:gd name="connsiteX4" fmla="*/ 10000 w 10000"/>
              <a:gd name="connsiteY4" fmla="*/ 10000 h 10000"/>
              <a:gd name="connsiteX0" fmla="*/ 0 w 10000"/>
              <a:gd name="connsiteY0" fmla="*/ 9894 h 10000"/>
              <a:gd name="connsiteX1" fmla="*/ 2524 w 10000"/>
              <a:gd name="connsiteY1" fmla="*/ 7132 h 10000"/>
              <a:gd name="connsiteX2" fmla="*/ 5111 w 10000"/>
              <a:gd name="connsiteY2" fmla="*/ 1 h 10000"/>
              <a:gd name="connsiteX3" fmla="*/ 7449 w 10000"/>
              <a:gd name="connsiteY3" fmla="*/ 7508 h 10000"/>
              <a:gd name="connsiteX4" fmla="*/ 10000 w 10000"/>
              <a:gd name="connsiteY4" fmla="*/ 10000 h 10000"/>
              <a:gd name="connsiteX0" fmla="*/ 0 w 10000"/>
              <a:gd name="connsiteY0" fmla="*/ 9894 h 10000"/>
              <a:gd name="connsiteX1" fmla="*/ 2524 w 10000"/>
              <a:gd name="connsiteY1" fmla="*/ 7132 h 10000"/>
              <a:gd name="connsiteX2" fmla="*/ 5111 w 10000"/>
              <a:gd name="connsiteY2" fmla="*/ 1 h 10000"/>
              <a:gd name="connsiteX3" fmla="*/ 7449 w 10000"/>
              <a:gd name="connsiteY3" fmla="*/ 7508 h 10000"/>
              <a:gd name="connsiteX4" fmla="*/ 10000 w 10000"/>
              <a:gd name="connsiteY4" fmla="*/ 10000 h 10000"/>
              <a:gd name="connsiteX0" fmla="*/ 0 w 10000"/>
              <a:gd name="connsiteY0" fmla="*/ 9894 h 10000"/>
              <a:gd name="connsiteX1" fmla="*/ 2524 w 10000"/>
              <a:gd name="connsiteY1" fmla="*/ 7132 h 10000"/>
              <a:gd name="connsiteX2" fmla="*/ 5111 w 10000"/>
              <a:gd name="connsiteY2" fmla="*/ 1 h 10000"/>
              <a:gd name="connsiteX3" fmla="*/ 7449 w 10000"/>
              <a:gd name="connsiteY3" fmla="*/ 7508 h 10000"/>
              <a:gd name="connsiteX4" fmla="*/ 10000 w 10000"/>
              <a:gd name="connsiteY4" fmla="*/ 10000 h 10000"/>
              <a:gd name="connsiteX0" fmla="*/ 0 w 10000"/>
              <a:gd name="connsiteY0" fmla="*/ 9894 h 10000"/>
              <a:gd name="connsiteX1" fmla="*/ 2524 w 10000"/>
              <a:gd name="connsiteY1" fmla="*/ 7132 h 10000"/>
              <a:gd name="connsiteX2" fmla="*/ 5111 w 10000"/>
              <a:gd name="connsiteY2" fmla="*/ 1 h 10000"/>
              <a:gd name="connsiteX3" fmla="*/ 7449 w 10000"/>
              <a:gd name="connsiteY3" fmla="*/ 7508 h 10000"/>
              <a:gd name="connsiteX4" fmla="*/ 10000 w 10000"/>
              <a:gd name="connsiteY4" fmla="*/ 10000 h 10000"/>
              <a:gd name="connsiteX0" fmla="*/ 0 w 10000"/>
              <a:gd name="connsiteY0" fmla="*/ 9896 h 10002"/>
              <a:gd name="connsiteX1" fmla="*/ 1910 w 10000"/>
              <a:gd name="connsiteY1" fmla="*/ 8511 h 10002"/>
              <a:gd name="connsiteX2" fmla="*/ 5111 w 10000"/>
              <a:gd name="connsiteY2" fmla="*/ 3 h 10002"/>
              <a:gd name="connsiteX3" fmla="*/ 7449 w 10000"/>
              <a:gd name="connsiteY3" fmla="*/ 7510 h 10002"/>
              <a:gd name="connsiteX4" fmla="*/ 10000 w 10000"/>
              <a:gd name="connsiteY4" fmla="*/ 10002 h 10002"/>
              <a:gd name="connsiteX0" fmla="*/ 0 w 10000"/>
              <a:gd name="connsiteY0" fmla="*/ 9896 h 10002"/>
              <a:gd name="connsiteX1" fmla="*/ 1910 w 10000"/>
              <a:gd name="connsiteY1" fmla="*/ 8511 h 10002"/>
              <a:gd name="connsiteX2" fmla="*/ 5111 w 10000"/>
              <a:gd name="connsiteY2" fmla="*/ 3 h 10002"/>
              <a:gd name="connsiteX3" fmla="*/ 7449 w 10000"/>
              <a:gd name="connsiteY3" fmla="*/ 7510 h 10002"/>
              <a:gd name="connsiteX4" fmla="*/ 10000 w 10000"/>
              <a:gd name="connsiteY4" fmla="*/ 10002 h 10002"/>
              <a:gd name="connsiteX0" fmla="*/ 0 w 10000"/>
              <a:gd name="connsiteY0" fmla="*/ 9896 h 10002"/>
              <a:gd name="connsiteX1" fmla="*/ 1910 w 10000"/>
              <a:gd name="connsiteY1" fmla="*/ 8511 h 10002"/>
              <a:gd name="connsiteX2" fmla="*/ 5111 w 10000"/>
              <a:gd name="connsiteY2" fmla="*/ 3 h 10002"/>
              <a:gd name="connsiteX3" fmla="*/ 7449 w 10000"/>
              <a:gd name="connsiteY3" fmla="*/ 7510 h 10002"/>
              <a:gd name="connsiteX4" fmla="*/ 10000 w 10000"/>
              <a:gd name="connsiteY4" fmla="*/ 10002 h 10002"/>
              <a:gd name="connsiteX0" fmla="*/ 0 w 10000"/>
              <a:gd name="connsiteY0" fmla="*/ 9896 h 10002"/>
              <a:gd name="connsiteX1" fmla="*/ 1910 w 10000"/>
              <a:gd name="connsiteY1" fmla="*/ 8511 h 10002"/>
              <a:gd name="connsiteX2" fmla="*/ 5111 w 10000"/>
              <a:gd name="connsiteY2" fmla="*/ 3 h 10002"/>
              <a:gd name="connsiteX3" fmla="*/ 7449 w 10000"/>
              <a:gd name="connsiteY3" fmla="*/ 7510 h 10002"/>
              <a:gd name="connsiteX4" fmla="*/ 10000 w 10000"/>
              <a:gd name="connsiteY4" fmla="*/ 10002 h 10002"/>
              <a:gd name="connsiteX0" fmla="*/ 0 w 10000"/>
              <a:gd name="connsiteY0" fmla="*/ 9896 h 10002"/>
              <a:gd name="connsiteX1" fmla="*/ 1910 w 10000"/>
              <a:gd name="connsiteY1" fmla="*/ 8511 h 10002"/>
              <a:gd name="connsiteX2" fmla="*/ 5111 w 10000"/>
              <a:gd name="connsiteY2" fmla="*/ 3 h 10002"/>
              <a:gd name="connsiteX3" fmla="*/ 7449 w 10000"/>
              <a:gd name="connsiteY3" fmla="*/ 7510 h 10002"/>
              <a:gd name="connsiteX4" fmla="*/ 10000 w 10000"/>
              <a:gd name="connsiteY4" fmla="*/ 10002 h 10002"/>
              <a:gd name="connsiteX0" fmla="*/ 0 w 10000"/>
              <a:gd name="connsiteY0" fmla="*/ 9896 h 10002"/>
              <a:gd name="connsiteX1" fmla="*/ 1910 w 10000"/>
              <a:gd name="connsiteY1" fmla="*/ 8511 h 10002"/>
              <a:gd name="connsiteX2" fmla="*/ 5111 w 10000"/>
              <a:gd name="connsiteY2" fmla="*/ 3 h 10002"/>
              <a:gd name="connsiteX3" fmla="*/ 7449 w 10000"/>
              <a:gd name="connsiteY3" fmla="*/ 7510 h 10002"/>
              <a:gd name="connsiteX4" fmla="*/ 10000 w 10000"/>
              <a:gd name="connsiteY4" fmla="*/ 10002 h 10002"/>
              <a:gd name="connsiteX0" fmla="*/ 0 w 10000"/>
              <a:gd name="connsiteY0" fmla="*/ 9896 h 10002"/>
              <a:gd name="connsiteX1" fmla="*/ 1910 w 10000"/>
              <a:gd name="connsiteY1" fmla="*/ 8511 h 10002"/>
              <a:gd name="connsiteX2" fmla="*/ 5111 w 10000"/>
              <a:gd name="connsiteY2" fmla="*/ 3 h 10002"/>
              <a:gd name="connsiteX3" fmla="*/ 7449 w 10000"/>
              <a:gd name="connsiteY3" fmla="*/ 7510 h 10002"/>
              <a:gd name="connsiteX4" fmla="*/ 10000 w 10000"/>
              <a:gd name="connsiteY4" fmla="*/ 10002 h 10002"/>
              <a:gd name="connsiteX0" fmla="*/ 0 w 10000"/>
              <a:gd name="connsiteY0" fmla="*/ 9899 h 10005"/>
              <a:gd name="connsiteX1" fmla="*/ 1910 w 10000"/>
              <a:gd name="connsiteY1" fmla="*/ 8514 h 10005"/>
              <a:gd name="connsiteX2" fmla="*/ 5111 w 10000"/>
              <a:gd name="connsiteY2" fmla="*/ 6 h 10005"/>
              <a:gd name="connsiteX3" fmla="*/ 7705 w 10000"/>
              <a:gd name="connsiteY3" fmla="*/ 7097 h 10005"/>
              <a:gd name="connsiteX4" fmla="*/ 10000 w 10000"/>
              <a:gd name="connsiteY4" fmla="*/ 10005 h 10005"/>
              <a:gd name="connsiteX0" fmla="*/ 0 w 10000"/>
              <a:gd name="connsiteY0" fmla="*/ 9899 h 9909"/>
              <a:gd name="connsiteX1" fmla="*/ 1910 w 10000"/>
              <a:gd name="connsiteY1" fmla="*/ 8514 h 9909"/>
              <a:gd name="connsiteX2" fmla="*/ 5111 w 10000"/>
              <a:gd name="connsiteY2" fmla="*/ 6 h 9909"/>
              <a:gd name="connsiteX3" fmla="*/ 7705 w 10000"/>
              <a:gd name="connsiteY3" fmla="*/ 7097 h 9909"/>
              <a:gd name="connsiteX4" fmla="*/ 10000 w 10000"/>
              <a:gd name="connsiteY4" fmla="*/ 9909 h 9909"/>
              <a:gd name="connsiteX0" fmla="*/ 0 w 10000"/>
              <a:gd name="connsiteY0" fmla="*/ 9990 h 10000"/>
              <a:gd name="connsiteX1" fmla="*/ 1910 w 10000"/>
              <a:gd name="connsiteY1" fmla="*/ 8592 h 10000"/>
              <a:gd name="connsiteX2" fmla="*/ 5111 w 10000"/>
              <a:gd name="connsiteY2" fmla="*/ 6 h 10000"/>
              <a:gd name="connsiteX3" fmla="*/ 7705 w 10000"/>
              <a:gd name="connsiteY3" fmla="*/ 7162 h 10000"/>
              <a:gd name="connsiteX4" fmla="*/ 10000 w 10000"/>
              <a:gd name="connsiteY4" fmla="*/ 10000 h 10000"/>
              <a:gd name="connsiteX0" fmla="*/ 0 w 10000"/>
              <a:gd name="connsiteY0" fmla="*/ 9990 h 10000"/>
              <a:gd name="connsiteX1" fmla="*/ 1910 w 10000"/>
              <a:gd name="connsiteY1" fmla="*/ 8592 h 10000"/>
              <a:gd name="connsiteX2" fmla="*/ 5111 w 10000"/>
              <a:gd name="connsiteY2" fmla="*/ 6 h 10000"/>
              <a:gd name="connsiteX3" fmla="*/ 7705 w 10000"/>
              <a:gd name="connsiteY3" fmla="*/ 7162 h 10000"/>
              <a:gd name="connsiteX4" fmla="*/ 10000 w 10000"/>
              <a:gd name="connsiteY4" fmla="*/ 10000 h 10000"/>
              <a:gd name="connsiteX0" fmla="*/ 0 w 10000"/>
              <a:gd name="connsiteY0" fmla="*/ 9991 h 10001"/>
              <a:gd name="connsiteX1" fmla="*/ 1910 w 10000"/>
              <a:gd name="connsiteY1" fmla="*/ 8593 h 10001"/>
              <a:gd name="connsiteX2" fmla="*/ 5111 w 10000"/>
              <a:gd name="connsiteY2" fmla="*/ 7 h 10001"/>
              <a:gd name="connsiteX3" fmla="*/ 7705 w 10000"/>
              <a:gd name="connsiteY3" fmla="*/ 7163 h 10001"/>
              <a:gd name="connsiteX4" fmla="*/ 10000 w 10000"/>
              <a:gd name="connsiteY4" fmla="*/ 10001 h 10001"/>
              <a:gd name="connsiteX0" fmla="*/ 0 w 10000"/>
              <a:gd name="connsiteY0" fmla="*/ 10059 h 10069"/>
              <a:gd name="connsiteX1" fmla="*/ 1910 w 10000"/>
              <a:gd name="connsiteY1" fmla="*/ 8661 h 10069"/>
              <a:gd name="connsiteX2" fmla="*/ 5026 w 10000"/>
              <a:gd name="connsiteY2" fmla="*/ 7 h 10069"/>
              <a:gd name="connsiteX3" fmla="*/ 7705 w 10000"/>
              <a:gd name="connsiteY3" fmla="*/ 7231 h 10069"/>
              <a:gd name="connsiteX4" fmla="*/ 10000 w 10000"/>
              <a:gd name="connsiteY4" fmla="*/ 10069 h 10069"/>
              <a:gd name="connsiteX0" fmla="*/ 0 w 10000"/>
              <a:gd name="connsiteY0" fmla="*/ 10053 h 10063"/>
              <a:gd name="connsiteX1" fmla="*/ 1910 w 10000"/>
              <a:gd name="connsiteY1" fmla="*/ 8655 h 10063"/>
              <a:gd name="connsiteX2" fmla="*/ 5026 w 10000"/>
              <a:gd name="connsiteY2" fmla="*/ 1 h 10063"/>
              <a:gd name="connsiteX3" fmla="*/ 7705 w 10000"/>
              <a:gd name="connsiteY3" fmla="*/ 7225 h 10063"/>
              <a:gd name="connsiteX4" fmla="*/ 10000 w 10000"/>
              <a:gd name="connsiteY4" fmla="*/ 10063 h 10063"/>
              <a:gd name="connsiteX0" fmla="*/ 0 w 10000"/>
              <a:gd name="connsiteY0" fmla="*/ 10053 h 10063"/>
              <a:gd name="connsiteX1" fmla="*/ 1910 w 10000"/>
              <a:gd name="connsiteY1" fmla="*/ 8655 h 10063"/>
              <a:gd name="connsiteX2" fmla="*/ 5026 w 10000"/>
              <a:gd name="connsiteY2" fmla="*/ 1 h 10063"/>
              <a:gd name="connsiteX3" fmla="*/ 7705 w 10000"/>
              <a:gd name="connsiteY3" fmla="*/ 7225 h 10063"/>
              <a:gd name="connsiteX4" fmla="*/ 10000 w 10000"/>
              <a:gd name="connsiteY4" fmla="*/ 10063 h 10063"/>
              <a:gd name="connsiteX0" fmla="*/ 0 w 10000"/>
              <a:gd name="connsiteY0" fmla="*/ 10053 h 10063"/>
              <a:gd name="connsiteX1" fmla="*/ 1910 w 10000"/>
              <a:gd name="connsiteY1" fmla="*/ 8655 h 10063"/>
              <a:gd name="connsiteX2" fmla="*/ 5026 w 10000"/>
              <a:gd name="connsiteY2" fmla="*/ 1 h 10063"/>
              <a:gd name="connsiteX3" fmla="*/ 7705 w 10000"/>
              <a:gd name="connsiteY3" fmla="*/ 7225 h 10063"/>
              <a:gd name="connsiteX4" fmla="*/ 10000 w 10000"/>
              <a:gd name="connsiteY4" fmla="*/ 10063 h 10063"/>
              <a:gd name="connsiteX0" fmla="*/ 0 w 10000"/>
              <a:gd name="connsiteY0" fmla="*/ 9993 h 10063"/>
              <a:gd name="connsiteX1" fmla="*/ 1910 w 10000"/>
              <a:gd name="connsiteY1" fmla="*/ 8655 h 10063"/>
              <a:gd name="connsiteX2" fmla="*/ 5026 w 10000"/>
              <a:gd name="connsiteY2" fmla="*/ 1 h 10063"/>
              <a:gd name="connsiteX3" fmla="*/ 7705 w 10000"/>
              <a:gd name="connsiteY3" fmla="*/ 7225 h 10063"/>
              <a:gd name="connsiteX4" fmla="*/ 10000 w 10000"/>
              <a:gd name="connsiteY4" fmla="*/ 10063 h 10063"/>
              <a:gd name="connsiteX0" fmla="*/ 0 w 10000"/>
              <a:gd name="connsiteY0" fmla="*/ 9993 h 10063"/>
              <a:gd name="connsiteX1" fmla="*/ 1910 w 10000"/>
              <a:gd name="connsiteY1" fmla="*/ 8655 h 10063"/>
              <a:gd name="connsiteX2" fmla="*/ 5026 w 10000"/>
              <a:gd name="connsiteY2" fmla="*/ 1 h 10063"/>
              <a:gd name="connsiteX3" fmla="*/ 7705 w 10000"/>
              <a:gd name="connsiteY3" fmla="*/ 7225 h 10063"/>
              <a:gd name="connsiteX4" fmla="*/ 10000 w 10000"/>
              <a:gd name="connsiteY4" fmla="*/ 10063 h 10063"/>
              <a:gd name="connsiteX0" fmla="*/ 0 w 10000"/>
              <a:gd name="connsiteY0" fmla="*/ 9996 h 10066"/>
              <a:gd name="connsiteX1" fmla="*/ 1835 w 10000"/>
              <a:gd name="connsiteY1" fmla="*/ 8326 h 10066"/>
              <a:gd name="connsiteX2" fmla="*/ 5026 w 10000"/>
              <a:gd name="connsiteY2" fmla="*/ 4 h 10066"/>
              <a:gd name="connsiteX3" fmla="*/ 7705 w 10000"/>
              <a:gd name="connsiteY3" fmla="*/ 7228 h 10066"/>
              <a:gd name="connsiteX4" fmla="*/ 10000 w 10000"/>
              <a:gd name="connsiteY4" fmla="*/ 10066 h 10066"/>
              <a:gd name="connsiteX0" fmla="*/ 0 w 10000"/>
              <a:gd name="connsiteY0" fmla="*/ 9994 h 10064"/>
              <a:gd name="connsiteX1" fmla="*/ 1955 w 10000"/>
              <a:gd name="connsiteY1" fmla="*/ 7871 h 10064"/>
              <a:gd name="connsiteX2" fmla="*/ 5026 w 10000"/>
              <a:gd name="connsiteY2" fmla="*/ 2 h 10064"/>
              <a:gd name="connsiteX3" fmla="*/ 7705 w 10000"/>
              <a:gd name="connsiteY3" fmla="*/ 7226 h 10064"/>
              <a:gd name="connsiteX4" fmla="*/ 10000 w 10000"/>
              <a:gd name="connsiteY4" fmla="*/ 10064 h 10064"/>
              <a:gd name="connsiteX0" fmla="*/ 0 w 10006"/>
              <a:gd name="connsiteY0" fmla="*/ 10031 h 10064"/>
              <a:gd name="connsiteX1" fmla="*/ 1961 w 10006"/>
              <a:gd name="connsiteY1" fmla="*/ 7871 h 10064"/>
              <a:gd name="connsiteX2" fmla="*/ 5032 w 10006"/>
              <a:gd name="connsiteY2" fmla="*/ 2 h 10064"/>
              <a:gd name="connsiteX3" fmla="*/ 7711 w 10006"/>
              <a:gd name="connsiteY3" fmla="*/ 7226 h 10064"/>
              <a:gd name="connsiteX4" fmla="*/ 10006 w 10006"/>
              <a:gd name="connsiteY4" fmla="*/ 10064 h 10064"/>
              <a:gd name="connsiteX0" fmla="*/ 0 w 7824"/>
              <a:gd name="connsiteY0" fmla="*/ 10031 h 10064"/>
              <a:gd name="connsiteX1" fmla="*/ 1961 w 7824"/>
              <a:gd name="connsiteY1" fmla="*/ 7871 h 10064"/>
              <a:gd name="connsiteX2" fmla="*/ 5032 w 7824"/>
              <a:gd name="connsiteY2" fmla="*/ 2 h 10064"/>
              <a:gd name="connsiteX3" fmla="*/ 7711 w 7824"/>
              <a:gd name="connsiteY3" fmla="*/ 7226 h 10064"/>
              <a:gd name="connsiteX4" fmla="*/ 4979 w 7824"/>
              <a:gd name="connsiteY4" fmla="*/ 10064 h 10064"/>
              <a:gd name="connsiteX0" fmla="*/ 0 w 10001"/>
              <a:gd name="connsiteY0" fmla="*/ 9967 h 9973"/>
              <a:gd name="connsiteX1" fmla="*/ 2506 w 10001"/>
              <a:gd name="connsiteY1" fmla="*/ 7821 h 9973"/>
              <a:gd name="connsiteX2" fmla="*/ 6431 w 10001"/>
              <a:gd name="connsiteY2" fmla="*/ 2 h 9973"/>
              <a:gd name="connsiteX3" fmla="*/ 9856 w 10001"/>
              <a:gd name="connsiteY3" fmla="*/ 7180 h 9973"/>
              <a:gd name="connsiteX4" fmla="*/ 6399 w 10001"/>
              <a:gd name="connsiteY4" fmla="*/ 9973 h 9973"/>
              <a:gd name="connsiteX0" fmla="*/ 0 w 10016"/>
              <a:gd name="connsiteY0" fmla="*/ 9994 h 10000"/>
              <a:gd name="connsiteX1" fmla="*/ 2506 w 10016"/>
              <a:gd name="connsiteY1" fmla="*/ 7842 h 10000"/>
              <a:gd name="connsiteX2" fmla="*/ 6430 w 10016"/>
              <a:gd name="connsiteY2" fmla="*/ 2 h 10000"/>
              <a:gd name="connsiteX3" fmla="*/ 9855 w 10016"/>
              <a:gd name="connsiteY3" fmla="*/ 7199 h 10000"/>
              <a:gd name="connsiteX4" fmla="*/ 6398 w 10016"/>
              <a:gd name="connsiteY4" fmla="*/ 10000 h 10000"/>
              <a:gd name="connsiteX0" fmla="*/ 0 w 8210"/>
              <a:gd name="connsiteY0" fmla="*/ 10001 h 10007"/>
              <a:gd name="connsiteX1" fmla="*/ 2506 w 8210"/>
              <a:gd name="connsiteY1" fmla="*/ 7849 h 10007"/>
              <a:gd name="connsiteX2" fmla="*/ 6430 w 8210"/>
              <a:gd name="connsiteY2" fmla="*/ 9 h 10007"/>
              <a:gd name="connsiteX3" fmla="*/ 7957 w 8210"/>
              <a:gd name="connsiteY3" fmla="*/ 6400 h 10007"/>
              <a:gd name="connsiteX4" fmla="*/ 6398 w 8210"/>
              <a:gd name="connsiteY4" fmla="*/ 10007 h 10007"/>
              <a:gd name="connsiteX0" fmla="*/ 0 w 10000"/>
              <a:gd name="connsiteY0" fmla="*/ 9994 h 10000"/>
              <a:gd name="connsiteX1" fmla="*/ 3052 w 10000"/>
              <a:gd name="connsiteY1" fmla="*/ 7844 h 10000"/>
              <a:gd name="connsiteX2" fmla="*/ 7832 w 10000"/>
              <a:gd name="connsiteY2" fmla="*/ 9 h 10000"/>
              <a:gd name="connsiteX3" fmla="*/ 9692 w 10000"/>
              <a:gd name="connsiteY3" fmla="*/ 6396 h 10000"/>
              <a:gd name="connsiteX4" fmla="*/ 7793 w 10000"/>
              <a:gd name="connsiteY4" fmla="*/ 10000 h 10000"/>
              <a:gd name="connsiteX0" fmla="*/ 0 w 10000"/>
              <a:gd name="connsiteY0" fmla="*/ 9994 h 10000"/>
              <a:gd name="connsiteX1" fmla="*/ 3052 w 10000"/>
              <a:gd name="connsiteY1" fmla="*/ 7844 h 10000"/>
              <a:gd name="connsiteX2" fmla="*/ 7832 w 10000"/>
              <a:gd name="connsiteY2" fmla="*/ 9 h 10000"/>
              <a:gd name="connsiteX3" fmla="*/ 9692 w 10000"/>
              <a:gd name="connsiteY3" fmla="*/ 6396 h 10000"/>
              <a:gd name="connsiteX4" fmla="*/ 7793 w 10000"/>
              <a:gd name="connsiteY4" fmla="*/ 10000 h 10000"/>
              <a:gd name="connsiteX0" fmla="*/ 0 w 8372"/>
              <a:gd name="connsiteY0" fmla="*/ 10007 h 10013"/>
              <a:gd name="connsiteX1" fmla="*/ 3052 w 8372"/>
              <a:gd name="connsiteY1" fmla="*/ 7857 h 10013"/>
              <a:gd name="connsiteX2" fmla="*/ 7832 w 8372"/>
              <a:gd name="connsiteY2" fmla="*/ 22 h 10013"/>
              <a:gd name="connsiteX3" fmla="*/ 7800 w 8372"/>
              <a:gd name="connsiteY3" fmla="*/ 5786 h 10013"/>
              <a:gd name="connsiteX4" fmla="*/ 7793 w 8372"/>
              <a:gd name="connsiteY4" fmla="*/ 10013 h 10013"/>
              <a:gd name="connsiteX0" fmla="*/ 0 w 9766"/>
              <a:gd name="connsiteY0" fmla="*/ 9994 h 10000"/>
              <a:gd name="connsiteX1" fmla="*/ 3645 w 9766"/>
              <a:gd name="connsiteY1" fmla="*/ 7847 h 10000"/>
              <a:gd name="connsiteX2" fmla="*/ 9355 w 9766"/>
              <a:gd name="connsiteY2" fmla="*/ 22 h 10000"/>
              <a:gd name="connsiteX3" fmla="*/ 9317 w 9766"/>
              <a:gd name="connsiteY3" fmla="*/ 5778 h 10000"/>
              <a:gd name="connsiteX4" fmla="*/ 9308 w 9766"/>
              <a:gd name="connsiteY4" fmla="*/ 10000 h 10000"/>
              <a:gd name="connsiteX0" fmla="*/ 0 w 9960"/>
              <a:gd name="connsiteY0" fmla="*/ 10000 h 10006"/>
              <a:gd name="connsiteX1" fmla="*/ 3732 w 9960"/>
              <a:gd name="connsiteY1" fmla="*/ 7853 h 10006"/>
              <a:gd name="connsiteX2" fmla="*/ 9527 w 9960"/>
              <a:gd name="connsiteY2" fmla="*/ 19 h 10006"/>
              <a:gd name="connsiteX3" fmla="*/ 9540 w 9960"/>
              <a:gd name="connsiteY3" fmla="*/ 5784 h 10006"/>
              <a:gd name="connsiteX4" fmla="*/ 9531 w 9960"/>
              <a:gd name="connsiteY4" fmla="*/ 10006 h 10006"/>
              <a:gd name="connsiteX0" fmla="*/ 0 w 9578"/>
              <a:gd name="connsiteY0" fmla="*/ 9975 h 9981"/>
              <a:gd name="connsiteX1" fmla="*/ 3747 w 9578"/>
              <a:gd name="connsiteY1" fmla="*/ 7829 h 9981"/>
              <a:gd name="connsiteX2" fmla="*/ 9565 w 9578"/>
              <a:gd name="connsiteY2" fmla="*/ 0 h 9981"/>
              <a:gd name="connsiteX3" fmla="*/ 9578 w 9578"/>
              <a:gd name="connsiteY3" fmla="*/ 5762 h 9981"/>
              <a:gd name="connsiteX4" fmla="*/ 9569 w 9578"/>
              <a:gd name="connsiteY4" fmla="*/ 9981 h 9981"/>
              <a:gd name="connsiteX0" fmla="*/ 0 w 10000"/>
              <a:gd name="connsiteY0" fmla="*/ 9994 h 10000"/>
              <a:gd name="connsiteX1" fmla="*/ 3912 w 10000"/>
              <a:gd name="connsiteY1" fmla="*/ 7844 h 10000"/>
              <a:gd name="connsiteX2" fmla="*/ 9986 w 10000"/>
              <a:gd name="connsiteY2" fmla="*/ 0 h 10000"/>
              <a:gd name="connsiteX3" fmla="*/ 10000 w 10000"/>
              <a:gd name="connsiteY3" fmla="*/ 5773 h 10000"/>
              <a:gd name="connsiteX4" fmla="*/ 9991 w 10000"/>
              <a:gd name="connsiteY4" fmla="*/ 10000 h 10000"/>
              <a:gd name="connsiteX0" fmla="*/ 0 w 10000"/>
              <a:gd name="connsiteY0" fmla="*/ 9994 h 10000"/>
              <a:gd name="connsiteX1" fmla="*/ 3852 w 10000"/>
              <a:gd name="connsiteY1" fmla="*/ 7664 h 10000"/>
              <a:gd name="connsiteX2" fmla="*/ 9986 w 10000"/>
              <a:gd name="connsiteY2" fmla="*/ 0 h 10000"/>
              <a:gd name="connsiteX3" fmla="*/ 10000 w 10000"/>
              <a:gd name="connsiteY3" fmla="*/ 5773 h 10000"/>
              <a:gd name="connsiteX4" fmla="*/ 9991 w 10000"/>
              <a:gd name="connsiteY4" fmla="*/ 10000 h 10000"/>
              <a:gd name="connsiteX0" fmla="*/ 0 w 10000"/>
              <a:gd name="connsiteY0" fmla="*/ 9994 h 10000"/>
              <a:gd name="connsiteX1" fmla="*/ 3912 w 10000"/>
              <a:gd name="connsiteY1" fmla="*/ 7484 h 10000"/>
              <a:gd name="connsiteX2" fmla="*/ 9986 w 10000"/>
              <a:gd name="connsiteY2" fmla="*/ 0 h 10000"/>
              <a:gd name="connsiteX3" fmla="*/ 10000 w 10000"/>
              <a:gd name="connsiteY3" fmla="*/ 5773 h 10000"/>
              <a:gd name="connsiteX4" fmla="*/ 9991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9994"/>
                </a:moveTo>
                <a:cubicBezTo>
                  <a:pt x="1426" y="9683"/>
                  <a:pt x="2248" y="9150"/>
                  <a:pt x="3912" y="7484"/>
                </a:cubicBezTo>
                <a:cubicBezTo>
                  <a:pt x="5576" y="5818"/>
                  <a:pt x="8325" y="90"/>
                  <a:pt x="9986" y="0"/>
                </a:cubicBezTo>
                <a:cubicBezTo>
                  <a:pt x="9980" y="937"/>
                  <a:pt x="9999" y="4107"/>
                  <a:pt x="10000" y="5773"/>
                </a:cubicBezTo>
                <a:cubicBezTo>
                  <a:pt x="10001" y="7439"/>
                  <a:pt x="9991" y="8875"/>
                  <a:pt x="9991" y="10000"/>
                </a:cubicBezTo>
              </a:path>
            </a:pathLst>
          </a:custGeom>
          <a:noFill/>
          <a:ln w="19050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n>
                <a:solidFill>
                  <a:schemeClr val="tx1"/>
                </a:solidFill>
                <a:prstDash val="dash"/>
              </a:ln>
            </a:endParaRPr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1761746" y="188640"/>
            <a:ext cx="6857418" cy="1325563"/>
          </a:xfrm>
        </p:spPr>
        <p:txBody>
          <a:bodyPr anchor="t"/>
          <a:lstStyle/>
          <a:p>
            <a:pPr algn="l"/>
            <a:r>
              <a:rPr lang="en-US" sz="4000" kern="0" dirty="0"/>
              <a:t>Examples </a:t>
            </a:r>
            <a:r>
              <a:rPr lang="en-US" sz="4000" dirty="0"/>
              <a:t>for</a:t>
            </a:r>
            <a:r>
              <a:rPr lang="en-US" sz="4000" kern="0" dirty="0"/>
              <a:t> the different pillars’ functions</a:t>
            </a:r>
          </a:p>
        </p:txBody>
      </p:sp>
      <p:sp>
        <p:nvSpPr>
          <p:cNvPr id="47" name="Rechteck 46"/>
          <p:cNvSpPr/>
          <p:nvPr/>
        </p:nvSpPr>
        <p:spPr>
          <a:xfrm rot="16200000">
            <a:off x="-1151476" y="3680815"/>
            <a:ext cx="460324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latin typeface="+mj-lt"/>
              </a:rPr>
              <a:t>Scenario probability of occurrence in real world traffic</a:t>
            </a:r>
          </a:p>
        </p:txBody>
      </p:sp>
      <p:sp>
        <p:nvSpPr>
          <p:cNvPr id="48" name="Rechteck 47"/>
          <p:cNvSpPr/>
          <p:nvPr/>
        </p:nvSpPr>
        <p:spPr>
          <a:xfrm>
            <a:off x="6111773" y="6250193"/>
            <a:ext cx="277518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Obstructed pedestrian crossing</a:t>
            </a:r>
            <a:br>
              <a:rPr lang="en-US" sz="1600" dirty="0"/>
            </a:br>
            <a:r>
              <a:rPr lang="en-US" sz="1600" dirty="0"/>
              <a:t>+ cyclist overtaking</a:t>
            </a:r>
            <a:endParaRPr lang="de-DE" sz="1600" dirty="0"/>
          </a:p>
        </p:txBody>
      </p:sp>
      <p:sp>
        <p:nvSpPr>
          <p:cNvPr id="49" name="Rechteck 48"/>
          <p:cNvSpPr/>
          <p:nvPr/>
        </p:nvSpPr>
        <p:spPr>
          <a:xfrm>
            <a:off x="6111231" y="4317497"/>
            <a:ext cx="28301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Obstructed pedestrian crossing</a:t>
            </a:r>
            <a:endParaRPr lang="de-DE" sz="1600" dirty="0"/>
          </a:p>
        </p:txBody>
      </p:sp>
      <p:sp>
        <p:nvSpPr>
          <p:cNvPr id="50" name="Rechteck 49"/>
          <p:cNvSpPr/>
          <p:nvPr/>
        </p:nvSpPr>
        <p:spPr>
          <a:xfrm>
            <a:off x="6111773" y="2505777"/>
            <a:ext cx="285103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Pedestrian crossing a crosswalk</a:t>
            </a:r>
            <a:endParaRPr lang="de-DE" sz="1600" dirty="0"/>
          </a:p>
        </p:txBody>
      </p:sp>
      <p:cxnSp>
        <p:nvCxnSpPr>
          <p:cNvPr id="58" name="Gerade Verbindung mit Pfeil 57"/>
          <p:cNvCxnSpPr/>
          <p:nvPr/>
        </p:nvCxnSpPr>
        <p:spPr>
          <a:xfrm flipV="1">
            <a:off x="1402330" y="1306279"/>
            <a:ext cx="0" cy="500413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1402330" y="6310415"/>
            <a:ext cx="3042921" cy="0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Legende mit Linie 1 62"/>
          <p:cNvSpPr/>
          <p:nvPr/>
        </p:nvSpPr>
        <p:spPr>
          <a:xfrm>
            <a:off x="4242711" y="5387294"/>
            <a:ext cx="1800000" cy="468000"/>
          </a:xfrm>
          <a:prstGeom prst="borderCallout1">
            <a:avLst>
              <a:gd name="adj1" fmla="val 50891"/>
              <a:gd name="adj2" fmla="val -87"/>
              <a:gd name="adj3" fmla="val 165191"/>
              <a:gd name="adj4" fmla="val -42400"/>
            </a:avLst>
          </a:prstGeom>
          <a:noFill/>
          <a:ln w="12700">
            <a:solidFill>
              <a:schemeClr val="tx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1" dirty="0">
                <a:solidFill>
                  <a:schemeClr val="tx1"/>
                </a:solidFill>
              </a:rPr>
              <a:t>Edge case</a:t>
            </a:r>
            <a:br>
              <a:rPr lang="en-GB" sz="1400" b="1" dirty="0">
                <a:solidFill>
                  <a:schemeClr val="tx1"/>
                </a:solidFill>
              </a:rPr>
            </a:br>
            <a:r>
              <a:rPr lang="en-GB" sz="1400" dirty="0">
                <a:solidFill>
                  <a:schemeClr val="tx1"/>
                </a:solidFill>
              </a:rPr>
              <a:t>scenarios</a:t>
            </a:r>
          </a:p>
        </p:txBody>
      </p:sp>
      <p:sp>
        <p:nvSpPr>
          <p:cNvPr id="64" name="Legende mit Linie 1 63"/>
          <p:cNvSpPr/>
          <p:nvPr/>
        </p:nvSpPr>
        <p:spPr>
          <a:xfrm>
            <a:off x="4242711" y="1646248"/>
            <a:ext cx="1800000" cy="468000"/>
          </a:xfrm>
          <a:prstGeom prst="borderCallout1">
            <a:avLst>
              <a:gd name="adj1" fmla="val 50891"/>
              <a:gd name="adj2" fmla="val -87"/>
              <a:gd name="adj3" fmla="val 576886"/>
              <a:gd name="adj4" fmla="val -122200"/>
            </a:avLst>
          </a:prstGeom>
          <a:noFill/>
          <a:ln w="12700">
            <a:solidFill>
              <a:schemeClr val="tx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1" dirty="0">
                <a:solidFill>
                  <a:schemeClr val="tx1"/>
                </a:solidFill>
              </a:rPr>
              <a:t>Typical </a:t>
            </a:r>
            <a:r>
              <a:rPr lang="en-GB" sz="1400" dirty="0">
                <a:solidFill>
                  <a:schemeClr val="tx1"/>
                </a:solidFill>
              </a:rPr>
              <a:t>traffic</a:t>
            </a:r>
            <a:br>
              <a:rPr lang="en-GB" sz="1400" dirty="0">
                <a:solidFill>
                  <a:schemeClr val="tx1"/>
                </a:solidFill>
              </a:rPr>
            </a:br>
            <a:r>
              <a:rPr lang="en-GB" sz="1400" dirty="0">
                <a:solidFill>
                  <a:schemeClr val="tx1"/>
                </a:solidFill>
              </a:rPr>
              <a:t>scenarios</a:t>
            </a:r>
          </a:p>
        </p:txBody>
      </p:sp>
      <p:sp>
        <p:nvSpPr>
          <p:cNvPr id="65" name="Legende mit Linie 1 64"/>
          <p:cNvSpPr/>
          <p:nvPr/>
        </p:nvSpPr>
        <p:spPr>
          <a:xfrm>
            <a:off x="4242711" y="3470026"/>
            <a:ext cx="1800000" cy="468000"/>
          </a:xfrm>
          <a:prstGeom prst="borderCallout1">
            <a:avLst>
              <a:gd name="adj1" fmla="val 50891"/>
              <a:gd name="adj2" fmla="val -87"/>
              <a:gd name="adj3" fmla="val 462041"/>
              <a:gd name="adj4" fmla="val -70692"/>
            </a:avLst>
          </a:prstGeom>
          <a:noFill/>
          <a:ln w="12700">
            <a:solidFill>
              <a:schemeClr val="tx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1" dirty="0">
                <a:solidFill>
                  <a:schemeClr val="tx1"/>
                </a:solidFill>
              </a:rPr>
              <a:t>Critical </a:t>
            </a:r>
            <a:r>
              <a:rPr lang="en-GB" sz="1400" dirty="0">
                <a:solidFill>
                  <a:schemeClr val="tx1"/>
                </a:solidFill>
              </a:rPr>
              <a:t>traffic</a:t>
            </a:r>
            <a:br>
              <a:rPr lang="en-GB" sz="1400" dirty="0">
                <a:solidFill>
                  <a:schemeClr val="tx1"/>
                </a:solidFill>
              </a:rPr>
            </a:br>
            <a:r>
              <a:rPr lang="en-GB" sz="1400" dirty="0">
                <a:solidFill>
                  <a:schemeClr val="tx1"/>
                </a:solidFill>
              </a:rPr>
              <a:t>scenarios</a:t>
            </a:r>
          </a:p>
        </p:txBody>
      </p:sp>
      <p:sp>
        <p:nvSpPr>
          <p:cNvPr id="4" name="Rechteck 3"/>
          <p:cNvSpPr/>
          <p:nvPr/>
        </p:nvSpPr>
        <p:spPr>
          <a:xfrm>
            <a:off x="1762417" y="6382697"/>
            <a:ext cx="245304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Complexity/risk of scenario</a:t>
            </a:r>
          </a:p>
        </p:txBody>
      </p:sp>
      <p:cxnSp>
        <p:nvCxnSpPr>
          <p:cNvPr id="74" name="Gerader Verbinder 73"/>
          <p:cNvCxnSpPr/>
          <p:nvPr/>
        </p:nvCxnSpPr>
        <p:spPr>
          <a:xfrm flipV="1">
            <a:off x="2735355" y="4561878"/>
            <a:ext cx="0" cy="174837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Gerader Verbinder 74"/>
          <p:cNvCxnSpPr/>
          <p:nvPr/>
        </p:nvCxnSpPr>
        <p:spPr>
          <a:xfrm flipV="1">
            <a:off x="3282479" y="5689600"/>
            <a:ext cx="0" cy="620815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Rechteck 50"/>
          <p:cNvSpPr/>
          <p:nvPr/>
        </p:nvSpPr>
        <p:spPr>
          <a:xfrm>
            <a:off x="10037324" y="1625892"/>
            <a:ext cx="2024124" cy="504056"/>
          </a:xfrm>
          <a:prstGeom prst="rect">
            <a:avLst/>
          </a:prstGeom>
          <a:solidFill>
            <a:srgbClr val="0082B3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chemeClr val="bg1"/>
                </a:solidFill>
                <a:sym typeface="Wingdings" panose="05000000000000000000" pitchFamily="2" charset="2"/>
              </a:rPr>
              <a:t>   </a:t>
            </a:r>
            <a:r>
              <a:rPr lang="de-DE" sz="1400" b="1" dirty="0">
                <a:solidFill>
                  <a:schemeClr val="bg1"/>
                </a:solidFill>
              </a:rPr>
              <a:t>Real World Test Drive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9933745" y="3467099"/>
            <a:ext cx="2146819" cy="482907"/>
          </a:xfrm>
          <a:prstGeom prst="rect">
            <a:avLst/>
          </a:prstGeom>
          <a:solidFill>
            <a:srgbClr val="9E9E9E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1" dirty="0">
                <a:solidFill>
                  <a:schemeClr val="bg1"/>
                </a:solidFill>
                <a:sym typeface="Wingdings" panose="05000000000000000000" pitchFamily="2" charset="2"/>
              </a:rPr>
              <a:t>   </a:t>
            </a:r>
            <a:r>
              <a:rPr lang="en-GB" sz="1400" b="1" dirty="0">
                <a:solidFill>
                  <a:schemeClr val="bg1"/>
                </a:solidFill>
              </a:rPr>
              <a:t>Physical certification</a:t>
            </a:r>
            <a:br>
              <a:rPr lang="en-GB" sz="1400" b="1" dirty="0">
                <a:solidFill>
                  <a:schemeClr val="bg1"/>
                </a:solidFill>
              </a:rPr>
            </a:br>
            <a:r>
              <a:rPr lang="en-GB" sz="1400" b="1" dirty="0">
                <a:solidFill>
                  <a:schemeClr val="bg1"/>
                </a:solidFill>
              </a:rPr>
              <a:t>   Tests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9933205" y="5369266"/>
            <a:ext cx="2197627" cy="652022"/>
          </a:xfrm>
          <a:prstGeom prst="rect">
            <a:avLst/>
          </a:prstGeom>
          <a:solidFill>
            <a:srgbClr val="002060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1" dirty="0">
                <a:solidFill>
                  <a:schemeClr val="bg1"/>
                </a:solidFill>
              </a:rPr>
              <a:t>  Audit and Assessment</a:t>
            </a:r>
            <a:br>
              <a:rPr lang="en-GB" sz="1400" b="1" dirty="0">
                <a:solidFill>
                  <a:schemeClr val="bg1"/>
                </a:solidFill>
              </a:rPr>
            </a:br>
            <a:r>
              <a:rPr lang="en-GB" sz="1400" b="1" dirty="0">
                <a:solidFill>
                  <a:schemeClr val="bg1"/>
                </a:solidFill>
              </a:rPr>
              <a:t>   (e.g. simulation)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7" name="Pfeil nach rechts 26"/>
          <p:cNvSpPr/>
          <p:nvPr/>
        </p:nvSpPr>
        <p:spPr>
          <a:xfrm>
            <a:off x="5663953" y="1664104"/>
            <a:ext cx="4510562" cy="423560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20786" y="1143962"/>
            <a:ext cx="3603404" cy="137272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6" name="Pfeil nach rechts 75"/>
          <p:cNvSpPr/>
          <p:nvPr/>
        </p:nvSpPr>
        <p:spPr>
          <a:xfrm>
            <a:off x="5663953" y="3485726"/>
            <a:ext cx="4510562" cy="423560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7" name="Grafik 6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20786" y="2949299"/>
            <a:ext cx="3603404" cy="138623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7" name="Pfeil nach rechts 76"/>
          <p:cNvSpPr/>
          <p:nvPr/>
        </p:nvSpPr>
        <p:spPr>
          <a:xfrm>
            <a:off x="5663952" y="5409514"/>
            <a:ext cx="4510562" cy="423560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20787" y="4887389"/>
            <a:ext cx="3603404" cy="137824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feld 5"/>
          <p:cNvSpPr txBox="1"/>
          <p:nvPr/>
        </p:nvSpPr>
        <p:spPr>
          <a:xfrm>
            <a:off x="4401877" y="5823255"/>
            <a:ext cx="164083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en-US" dirty="0"/>
              <a:t>low probability, but high efforts to identify and confirm performance!</a:t>
            </a:r>
          </a:p>
        </p:txBody>
      </p:sp>
    </p:spTree>
    <p:extLst>
      <p:ext uri="{BB962C8B-B14F-4D97-AF65-F5344CB8AC3E}">
        <p14:creationId xmlns:p14="http://schemas.microsoft.com/office/powerpoint/2010/main" val="37617606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3840" y="274638"/>
            <a:ext cx="7483808" cy="1143000"/>
          </a:xfrm>
        </p:spPr>
        <p:txBody>
          <a:bodyPr/>
          <a:lstStyle/>
          <a:p>
            <a:r>
              <a:rPr lang="en-US" sz="3200" dirty="0"/>
              <a:t>Concept for certification – the three pillars and their individual purpose</a:t>
            </a:r>
            <a:endParaRPr lang="en-US" sz="3200" kern="0" dirty="0"/>
          </a:p>
        </p:txBody>
      </p:sp>
      <p:sp>
        <p:nvSpPr>
          <p:cNvPr id="4" name="Abgerundetes Rechteck 3"/>
          <p:cNvSpPr/>
          <p:nvPr/>
        </p:nvSpPr>
        <p:spPr>
          <a:xfrm>
            <a:off x="5447215" y="2338252"/>
            <a:ext cx="2815928" cy="4373632"/>
          </a:xfrm>
          <a:prstGeom prst="roundRect">
            <a:avLst>
              <a:gd name="adj" fmla="val 1863"/>
            </a:avLst>
          </a:prstGeom>
          <a:solidFill>
            <a:srgbClr val="9E9E9E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Physical Certification</a:t>
            </a:r>
            <a:r>
              <a:rPr lang="en-US" b="1" kern="0" dirty="0">
                <a:solidFill>
                  <a:schemeClr val="bg1"/>
                </a:solidFill>
              </a:rPr>
              <a:t>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ests</a:t>
            </a:r>
          </a:p>
          <a:p>
            <a:pPr marL="28575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Assess critical scenarios that are technically difficult for the system, have a high injury severity and are representative for real traffic</a:t>
            </a:r>
          </a:p>
          <a:p>
            <a:pPr marL="28575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Compare with critical test cases derived from simulation and validate simulation tools</a:t>
            </a:r>
          </a:p>
        </p:txBody>
      </p:sp>
      <p:sp>
        <p:nvSpPr>
          <p:cNvPr id="5" name="Abgerundetes Rechteck 4"/>
          <p:cNvSpPr/>
          <p:nvPr/>
        </p:nvSpPr>
        <p:spPr>
          <a:xfrm>
            <a:off x="8367648" y="2338253"/>
            <a:ext cx="3492657" cy="4373632"/>
          </a:xfrm>
          <a:prstGeom prst="roundRect">
            <a:avLst>
              <a:gd name="adj" fmla="val 2238"/>
            </a:avLst>
          </a:prstGeom>
          <a:solidFill>
            <a:srgbClr val="00ADE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Real World Test Drive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28575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Assess the overall system capabilities and behavior in non-simulated traffic on public roads and show that the system has not been optimized on specific test scenarios</a:t>
            </a:r>
          </a:p>
          <a:p>
            <a:pPr marL="28575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Assess system safety requirements like e.g. HMI and ODD</a:t>
            </a:r>
          </a:p>
          <a:p>
            <a:pPr marL="28575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Assess that the system achieves a performance comparable to an experienced driver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255494" y="2338252"/>
            <a:ext cx="5087215" cy="4373633"/>
          </a:xfrm>
          <a:prstGeom prst="roundRect">
            <a:avLst>
              <a:gd name="adj" fmla="val 1294"/>
            </a:avLst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Audit/Assessment</a:t>
            </a:r>
          </a:p>
          <a:p>
            <a:pPr marL="0" marR="0" lvl="0" indent="0" defTabSz="9144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28575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Understand the system to be certified</a:t>
            </a:r>
          </a:p>
          <a:p>
            <a:pPr marL="285750" lvl="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Assess that the applied processes and design/test methods for the overall system development (HW and SW) are effective, complete and consistent</a:t>
            </a:r>
          </a:p>
          <a:p>
            <a:pPr marL="285750" lvl="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Assess system’s strategies/rest performance to address (multiple) fault-conditions and disturbances due to deteriorating external influences; vehicle behavior in variations of critical scenarios</a:t>
            </a:r>
          </a:p>
          <a:p>
            <a:pPr marL="285750" lvl="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Simulation: Test parameter variations (e.g. distances, speeds) of scenarios and edge-cases that are difficult to test entirely on a test track</a:t>
            </a:r>
          </a:p>
          <a:p>
            <a:pPr marL="0" marR="0" lvl="0" indent="0" defTabSz="9144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4079776" y="2522616"/>
            <a:ext cx="1090213" cy="482205"/>
          </a:xfrm>
          <a:prstGeom prst="roundRect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imulation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B1DD820-7A4E-4931-9A1C-78EDAF17B12D}"/>
              </a:ext>
            </a:extLst>
          </p:cNvPr>
          <p:cNvSpPr txBox="1"/>
          <p:nvPr/>
        </p:nvSpPr>
        <p:spPr>
          <a:xfrm>
            <a:off x="6007715" y="1844222"/>
            <a:ext cx="18789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9E9E9E"/>
                </a:solidFill>
                <a:latin typeface="Arial Black" panose="020B0A04020102020204" pitchFamily="34" charset="0"/>
              </a:rPr>
              <a:t>PILLAR 2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F10CBE72-B741-4299-952B-DA9AD7AF4A2A}"/>
              </a:ext>
            </a:extLst>
          </p:cNvPr>
          <p:cNvSpPr txBox="1"/>
          <p:nvPr/>
        </p:nvSpPr>
        <p:spPr>
          <a:xfrm>
            <a:off x="2096115" y="1844222"/>
            <a:ext cx="18789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2060"/>
                </a:solidFill>
                <a:latin typeface="Arial Black" panose="020B0A04020102020204" pitchFamily="34" charset="0"/>
              </a:rPr>
              <a:t>PILLAR 1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6563909-C174-4AE6-9A74-C728407B3FBF}"/>
              </a:ext>
            </a:extLst>
          </p:cNvPr>
          <p:cNvSpPr txBox="1"/>
          <p:nvPr/>
        </p:nvSpPr>
        <p:spPr>
          <a:xfrm>
            <a:off x="8984376" y="1844222"/>
            <a:ext cx="18614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rgbClr val="0082B3"/>
                </a:solidFill>
                <a:latin typeface="Arial Black" panose="020B0A04020102020204" pitchFamily="34" charset="0"/>
              </a:rPr>
              <a:t>PILLAR 3</a:t>
            </a:r>
          </a:p>
        </p:txBody>
      </p:sp>
      <p:pic>
        <p:nvPicPr>
          <p:cNvPr id="15" name="Picture 4" descr="http://vignette4.wikia.nocookie.net/routes/images/e/e0/A86_Saint-Maurice.jpg/revision/latest?cb=20080525200046">
            <a:extLst>
              <a:ext uri="{FF2B5EF4-FFF2-40B4-BE49-F238E27FC236}">
                <a16:creationId xmlns:a16="http://schemas.microsoft.com/office/drawing/2014/main" id="{FE48104C-0C21-4FAB-90CF-209BBE6AF9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7304" y="5898769"/>
            <a:ext cx="1315275" cy="813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8B631BAD-2D8E-4984-836A-0136E43AC0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6007323" y="5877272"/>
            <a:ext cx="1782151" cy="764816"/>
          </a:xfrm>
          <a:prstGeom prst="rect">
            <a:avLst/>
          </a:prstGeom>
        </p:spPr>
      </p:pic>
      <p:pic>
        <p:nvPicPr>
          <p:cNvPr id="11" name="Graphique 10" descr="Ordinateur">
            <a:extLst>
              <a:ext uri="{FF2B5EF4-FFF2-40B4-BE49-F238E27FC236}">
                <a16:creationId xmlns:a16="http://schemas.microsoft.com/office/drawing/2014/main" id="{0CB27DC2-B08F-49EC-B042-200C0941856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23592" y="587727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1258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tate of </a:t>
            </a:r>
            <a:r>
              <a:rPr lang="fr-FR" dirty="0" err="1"/>
              <a:t>play</a:t>
            </a:r>
            <a:r>
              <a:rPr lang="fr-FR" dirty="0"/>
              <a:t> at WP1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911424" y="1417638"/>
            <a:ext cx="10742984" cy="5035698"/>
          </a:xfrm>
        </p:spPr>
        <p:txBody>
          <a:bodyPr/>
          <a:lstStyle/>
          <a:p>
            <a:r>
              <a:rPr lang="en-GB" dirty="0"/>
              <a:t>Important for GRSG in particular for HMI</a:t>
            </a:r>
          </a:p>
          <a:p>
            <a:r>
              <a:rPr lang="en-GB" dirty="0"/>
              <a:t>Adoption of a Resolution addressing the conditionally and the highly automated vehicles</a:t>
            </a:r>
          </a:p>
          <a:p>
            <a:r>
              <a:rPr lang="en-GB" dirty="0"/>
              <a:t>Ongoing discussions:</a:t>
            </a:r>
          </a:p>
          <a:p>
            <a:pPr lvl="1"/>
            <a:r>
              <a:rPr lang="en-GB" dirty="0"/>
              <a:t>What “other activities than driving” may the driver undertake when the AD is engaged</a:t>
            </a:r>
          </a:p>
          <a:p>
            <a:pPr lvl="1"/>
            <a:r>
              <a:rPr lang="en-GB" dirty="0"/>
              <a:t>Remote driving</a:t>
            </a:r>
          </a:p>
          <a:p>
            <a:pPr lvl="1"/>
            <a:r>
              <a:rPr lang="en-GB" dirty="0"/>
              <a:t>Amendments to the Vienna Convention and the Geneva Convention. 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83943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2D1E5E8-D711-46FE-9C60-B9EEB98BD5B5}"/>
              </a:ext>
            </a:extLst>
          </p:cNvPr>
          <p:cNvSpPr/>
          <p:nvPr/>
        </p:nvSpPr>
        <p:spPr>
          <a:xfrm>
            <a:off x="1089900" y="3248256"/>
            <a:ext cx="9361040" cy="252028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90000"/>
                  <a:shade val="30000"/>
                  <a:satMod val="115000"/>
                </a:schemeClr>
              </a:gs>
              <a:gs pos="50000">
                <a:schemeClr val="accent1">
                  <a:lumMod val="90000"/>
                  <a:shade val="67500"/>
                  <a:satMod val="115000"/>
                </a:schemeClr>
              </a:gs>
              <a:gs pos="100000">
                <a:schemeClr val="accent1">
                  <a:lumMod val="90000"/>
                  <a:shade val="100000"/>
                  <a:satMod val="115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E27DA60B-5B82-4A5F-8FE4-F8A7AB6CB770}"/>
              </a:ext>
            </a:extLst>
          </p:cNvPr>
          <p:cNvSpPr>
            <a:spLocks noChangeAspect="1"/>
          </p:cNvSpPr>
          <p:nvPr/>
        </p:nvSpPr>
        <p:spPr>
          <a:xfrm>
            <a:off x="5659907" y="2777539"/>
            <a:ext cx="5188621" cy="3456915"/>
          </a:xfrm>
          <a:prstGeom prst="frame">
            <a:avLst>
              <a:gd name="adj1" fmla="val 8507"/>
            </a:avLst>
          </a:prstGeom>
          <a:solidFill>
            <a:srgbClr val="0070C0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6890556" cy="1143000"/>
          </a:xfrm>
        </p:spPr>
        <p:txBody>
          <a:bodyPr/>
          <a:lstStyle/>
          <a:p>
            <a:r>
              <a:rPr lang="fr-FR" dirty="0"/>
              <a:t>Challenge </a:t>
            </a:r>
            <a:r>
              <a:rPr lang="fr-FR" dirty="0" err="1"/>
              <a:t>facing</a:t>
            </a:r>
            <a:r>
              <a:rPr lang="fr-FR" dirty="0"/>
              <a:t> the </a:t>
            </a:r>
            <a:r>
              <a:rPr lang="fr-FR" dirty="0" err="1"/>
              <a:t>Automated</a:t>
            </a:r>
            <a:r>
              <a:rPr lang="fr-FR" dirty="0"/>
              <a:t> Driving (AD)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F54FD8BD-5DAB-48BD-B11D-4DC81E6C37F8}"/>
              </a:ext>
            </a:extLst>
          </p:cNvPr>
          <p:cNvSpPr txBox="1"/>
          <p:nvPr/>
        </p:nvSpPr>
        <p:spPr>
          <a:xfrm>
            <a:off x="1415480" y="3354134"/>
            <a:ext cx="23042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chemeClr val="accent1">
                    <a:lumMod val="10000"/>
                  </a:schemeClr>
                </a:solidFill>
              </a:rPr>
              <a:t>Technique</a:t>
            </a:r>
            <a:endParaRPr lang="en-GB" sz="2400" dirty="0">
              <a:solidFill>
                <a:schemeClr val="accent1">
                  <a:lumMod val="10000"/>
                </a:schemeClr>
              </a:solidFill>
            </a:endParaRP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CFDF0467-452B-46F4-8CF0-E50D12D1A534}"/>
              </a:ext>
            </a:extLst>
          </p:cNvPr>
          <p:cNvSpPr>
            <a:spLocks noChangeAspect="1"/>
          </p:cNvSpPr>
          <p:nvPr/>
        </p:nvSpPr>
        <p:spPr>
          <a:xfrm>
            <a:off x="553605" y="2780397"/>
            <a:ext cx="5044742" cy="3456915"/>
          </a:xfrm>
          <a:prstGeom prst="frame">
            <a:avLst>
              <a:gd name="adj1" fmla="val 8507"/>
            </a:avLst>
          </a:prstGeom>
          <a:solidFill>
            <a:srgbClr val="FF0000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5A138FAE-7B0F-4CA1-A7B7-DDD650E060E7}"/>
              </a:ext>
            </a:extLst>
          </p:cNvPr>
          <p:cNvSpPr txBox="1"/>
          <p:nvPr/>
        </p:nvSpPr>
        <p:spPr>
          <a:xfrm>
            <a:off x="983432" y="2734272"/>
            <a:ext cx="31641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Technical </a:t>
            </a:r>
            <a:r>
              <a:rPr lang="fr-FR" dirty="0" err="1"/>
              <a:t>Regulation</a:t>
            </a:r>
            <a:r>
              <a:rPr lang="fr-FR" dirty="0"/>
              <a:t> frame</a:t>
            </a:r>
            <a:endParaRPr lang="en-GB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9802C06-FC58-47C6-9C5D-F0E1C11DB428}"/>
              </a:ext>
            </a:extLst>
          </p:cNvPr>
          <p:cNvSpPr txBox="1"/>
          <p:nvPr/>
        </p:nvSpPr>
        <p:spPr>
          <a:xfrm>
            <a:off x="5195900" y="3387398"/>
            <a:ext cx="23042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HMI</a:t>
            </a:r>
            <a:endParaRPr lang="en-GB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CEB98D34-3867-437E-9504-6178310891D5}"/>
              </a:ext>
            </a:extLst>
          </p:cNvPr>
          <p:cNvSpPr txBox="1"/>
          <p:nvPr/>
        </p:nvSpPr>
        <p:spPr>
          <a:xfrm>
            <a:off x="8146684" y="3354134"/>
            <a:ext cx="23042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Driver</a:t>
            </a:r>
            <a:endParaRPr lang="en-GB" sz="240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A70A60A-938F-4C82-AFF6-CF5EBBEBF771}"/>
              </a:ext>
            </a:extLst>
          </p:cNvPr>
          <p:cNvSpPr txBox="1"/>
          <p:nvPr/>
        </p:nvSpPr>
        <p:spPr>
          <a:xfrm>
            <a:off x="1415480" y="4663052"/>
            <a:ext cx="23042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 err="1"/>
              <a:t>Braking</a:t>
            </a:r>
            <a:r>
              <a:rPr lang="fr-FR" sz="2000" dirty="0"/>
              <a:t> system</a:t>
            </a:r>
          </a:p>
          <a:p>
            <a:r>
              <a:rPr lang="fr-FR" sz="2000" dirty="0" err="1"/>
              <a:t>Steering</a:t>
            </a:r>
            <a:r>
              <a:rPr lang="fr-FR" sz="2000" dirty="0"/>
              <a:t> system</a:t>
            </a:r>
          </a:p>
          <a:p>
            <a:r>
              <a:rPr lang="fr-FR" sz="2000" dirty="0"/>
              <a:t>…</a:t>
            </a:r>
            <a:endParaRPr lang="en-GB" sz="2000" dirty="0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DC36C217-70D1-4DE4-87E9-D6D3879525CC}"/>
              </a:ext>
            </a:extLst>
          </p:cNvPr>
          <p:cNvSpPr txBox="1"/>
          <p:nvPr/>
        </p:nvSpPr>
        <p:spPr>
          <a:xfrm>
            <a:off x="5092069" y="4663052"/>
            <a:ext cx="23042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/>
              <a:t>Controls</a:t>
            </a:r>
          </a:p>
          <a:p>
            <a:r>
              <a:rPr lang="fr-FR" sz="2000" dirty="0" err="1"/>
              <a:t>Indicators</a:t>
            </a:r>
            <a:endParaRPr lang="fr-FR" sz="2000" dirty="0"/>
          </a:p>
          <a:p>
            <a:r>
              <a:rPr lang="fr-FR" sz="2000" dirty="0"/>
              <a:t>…</a:t>
            </a:r>
            <a:endParaRPr lang="en-GB" sz="2000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F52E706-3ED7-4DC5-9237-339FD8CCCE28}"/>
              </a:ext>
            </a:extLst>
          </p:cNvPr>
          <p:cNvSpPr txBox="1"/>
          <p:nvPr/>
        </p:nvSpPr>
        <p:spPr>
          <a:xfrm>
            <a:off x="8976320" y="4640985"/>
            <a:ext cx="1296144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/>
              <a:t>Strategic </a:t>
            </a:r>
            <a:r>
              <a:rPr lang="fr-FR" sz="2000" dirty="0" err="1"/>
              <a:t>decisions</a:t>
            </a:r>
            <a:endParaRPr lang="fr-FR" sz="2000" dirty="0"/>
          </a:p>
          <a:p>
            <a:endParaRPr lang="fr-FR" dirty="0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F6DD59FB-A7BA-4ECE-AE1E-A9D91BFCF897}"/>
              </a:ext>
            </a:extLst>
          </p:cNvPr>
          <p:cNvSpPr txBox="1"/>
          <p:nvPr/>
        </p:nvSpPr>
        <p:spPr>
          <a:xfrm>
            <a:off x="6744072" y="4653759"/>
            <a:ext cx="216024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 err="1"/>
              <a:t>Tactical</a:t>
            </a:r>
            <a:r>
              <a:rPr lang="fr-FR" sz="2000" dirty="0"/>
              <a:t> </a:t>
            </a:r>
            <a:r>
              <a:rPr lang="fr-FR" sz="2000" dirty="0" err="1"/>
              <a:t>decisions</a:t>
            </a:r>
            <a:endParaRPr lang="fr-FR" sz="2000" dirty="0"/>
          </a:p>
          <a:p>
            <a:endParaRPr lang="fr-FR" dirty="0"/>
          </a:p>
        </p:txBody>
      </p:sp>
      <p:sp>
        <p:nvSpPr>
          <p:cNvPr id="26" name="Rectangle 4">
            <a:extLst>
              <a:ext uri="{FF2B5EF4-FFF2-40B4-BE49-F238E27FC236}">
                <a16:creationId xmlns:a16="http://schemas.microsoft.com/office/drawing/2014/main" id="{064469BE-69FF-4C80-AB12-F0AE4FF952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pic>
        <p:nvPicPr>
          <p:cNvPr id="55" name="Graphique 54" descr="Homme">
            <a:extLst>
              <a:ext uri="{FF2B5EF4-FFF2-40B4-BE49-F238E27FC236}">
                <a16:creationId xmlns:a16="http://schemas.microsoft.com/office/drawing/2014/main" id="{F4940DD8-ADAC-44C3-8F86-7364D27DA0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56240" y="3812734"/>
            <a:ext cx="765536" cy="765536"/>
          </a:xfrm>
          <a:prstGeom prst="rect">
            <a:avLst/>
          </a:prstGeom>
        </p:spPr>
      </p:pic>
      <p:pic>
        <p:nvPicPr>
          <p:cNvPr id="57" name="Image 56">
            <a:extLst>
              <a:ext uri="{FF2B5EF4-FFF2-40B4-BE49-F238E27FC236}">
                <a16:creationId xmlns:a16="http://schemas.microsoft.com/office/drawing/2014/main" id="{33D8D110-FA23-4A3C-989A-65E39036F7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4943872" y="3717032"/>
            <a:ext cx="1261298" cy="97109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7F364135-E0E2-4618-9765-8CDCFBD96682}"/>
              </a:ext>
            </a:extLst>
          </p:cNvPr>
          <p:cNvSpPr txBox="1"/>
          <p:nvPr/>
        </p:nvSpPr>
        <p:spPr>
          <a:xfrm>
            <a:off x="3430160" y="1957405"/>
            <a:ext cx="46805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 err="1"/>
              <a:t>Conventional</a:t>
            </a:r>
            <a:r>
              <a:rPr lang="fr-FR" sz="3200" dirty="0"/>
              <a:t> </a:t>
            </a:r>
            <a:r>
              <a:rPr lang="fr-FR" sz="3200" dirty="0" err="1"/>
              <a:t>vehicles</a:t>
            </a:r>
            <a:endParaRPr lang="en-GB" sz="3200" dirty="0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EB1715C3-0823-4E9C-9E17-D6F4D964A486}"/>
              </a:ext>
            </a:extLst>
          </p:cNvPr>
          <p:cNvSpPr txBox="1"/>
          <p:nvPr/>
        </p:nvSpPr>
        <p:spPr>
          <a:xfrm>
            <a:off x="6496856" y="2731462"/>
            <a:ext cx="3487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 Road Traffic </a:t>
            </a:r>
            <a:r>
              <a:rPr lang="fr-FR" dirty="0" err="1"/>
              <a:t>Regulation</a:t>
            </a:r>
            <a:r>
              <a:rPr lang="fr-FR" dirty="0"/>
              <a:t> frame</a:t>
            </a:r>
            <a:endParaRPr lang="en-GB" dirty="0"/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19FAA87D-9274-44B6-88BC-13EAC031B440}"/>
              </a:ext>
            </a:extLst>
          </p:cNvPr>
          <p:cNvGrpSpPr/>
          <p:nvPr/>
        </p:nvGrpSpPr>
        <p:grpSpPr>
          <a:xfrm>
            <a:off x="1797520" y="3867314"/>
            <a:ext cx="767706" cy="560379"/>
            <a:chOff x="2058634" y="1001915"/>
            <a:chExt cx="1780736" cy="1258474"/>
          </a:xfrm>
        </p:grpSpPr>
        <p:sp>
          <p:nvSpPr>
            <p:cNvPr id="30" name="Rounded Rectangle 5">
              <a:extLst>
                <a:ext uri="{FF2B5EF4-FFF2-40B4-BE49-F238E27FC236}">
                  <a16:creationId xmlns:a16="http://schemas.microsoft.com/office/drawing/2014/main" id="{71C25830-E095-40D3-887D-5DF1ED8DA4B2}"/>
                </a:ext>
              </a:extLst>
            </p:cNvPr>
            <p:cNvSpPr/>
            <p:nvPr/>
          </p:nvSpPr>
          <p:spPr>
            <a:xfrm>
              <a:off x="2201426" y="1001915"/>
              <a:ext cx="1498555" cy="1063474"/>
            </a:xfrm>
            <a:custGeom>
              <a:avLst/>
              <a:gdLst>
                <a:gd name="connsiteX0" fmla="*/ 0 w 333375"/>
                <a:gd name="connsiteY0" fmla="*/ 93665 h 337828"/>
                <a:gd name="connsiteX1" fmla="*/ 93665 w 333375"/>
                <a:gd name="connsiteY1" fmla="*/ 0 h 337828"/>
                <a:gd name="connsiteX2" fmla="*/ 239710 w 333375"/>
                <a:gd name="connsiteY2" fmla="*/ 0 h 337828"/>
                <a:gd name="connsiteX3" fmla="*/ 333375 w 333375"/>
                <a:gd name="connsiteY3" fmla="*/ 93665 h 337828"/>
                <a:gd name="connsiteX4" fmla="*/ 333375 w 333375"/>
                <a:gd name="connsiteY4" fmla="*/ 244163 h 337828"/>
                <a:gd name="connsiteX5" fmla="*/ 239710 w 333375"/>
                <a:gd name="connsiteY5" fmla="*/ 337828 h 337828"/>
                <a:gd name="connsiteX6" fmla="*/ 93665 w 333375"/>
                <a:gd name="connsiteY6" fmla="*/ 337828 h 337828"/>
                <a:gd name="connsiteX7" fmla="*/ 0 w 333375"/>
                <a:gd name="connsiteY7" fmla="*/ 244163 h 337828"/>
                <a:gd name="connsiteX8" fmla="*/ 0 w 333375"/>
                <a:gd name="connsiteY8" fmla="*/ 93665 h 337828"/>
                <a:gd name="connsiteX0" fmla="*/ 0 w 361950"/>
                <a:gd name="connsiteY0" fmla="*/ 93665 h 337828"/>
                <a:gd name="connsiteX1" fmla="*/ 93665 w 361950"/>
                <a:gd name="connsiteY1" fmla="*/ 0 h 337828"/>
                <a:gd name="connsiteX2" fmla="*/ 239710 w 361950"/>
                <a:gd name="connsiteY2" fmla="*/ 0 h 337828"/>
                <a:gd name="connsiteX3" fmla="*/ 361950 w 361950"/>
                <a:gd name="connsiteY3" fmla="*/ 91283 h 337828"/>
                <a:gd name="connsiteX4" fmla="*/ 333375 w 361950"/>
                <a:gd name="connsiteY4" fmla="*/ 244163 h 337828"/>
                <a:gd name="connsiteX5" fmla="*/ 239710 w 361950"/>
                <a:gd name="connsiteY5" fmla="*/ 337828 h 337828"/>
                <a:gd name="connsiteX6" fmla="*/ 93665 w 361950"/>
                <a:gd name="connsiteY6" fmla="*/ 337828 h 337828"/>
                <a:gd name="connsiteX7" fmla="*/ 0 w 361950"/>
                <a:gd name="connsiteY7" fmla="*/ 244163 h 337828"/>
                <a:gd name="connsiteX8" fmla="*/ 0 w 361950"/>
                <a:gd name="connsiteY8" fmla="*/ 93665 h 337828"/>
                <a:gd name="connsiteX0" fmla="*/ 0 w 369094"/>
                <a:gd name="connsiteY0" fmla="*/ 93665 h 373192"/>
                <a:gd name="connsiteX1" fmla="*/ 93665 w 369094"/>
                <a:gd name="connsiteY1" fmla="*/ 0 h 373192"/>
                <a:gd name="connsiteX2" fmla="*/ 239710 w 369094"/>
                <a:gd name="connsiteY2" fmla="*/ 0 h 373192"/>
                <a:gd name="connsiteX3" fmla="*/ 361950 w 369094"/>
                <a:gd name="connsiteY3" fmla="*/ 91283 h 373192"/>
                <a:gd name="connsiteX4" fmla="*/ 369094 w 369094"/>
                <a:gd name="connsiteY4" fmla="*/ 353700 h 373192"/>
                <a:gd name="connsiteX5" fmla="*/ 239710 w 369094"/>
                <a:gd name="connsiteY5" fmla="*/ 337828 h 373192"/>
                <a:gd name="connsiteX6" fmla="*/ 93665 w 369094"/>
                <a:gd name="connsiteY6" fmla="*/ 337828 h 373192"/>
                <a:gd name="connsiteX7" fmla="*/ 0 w 369094"/>
                <a:gd name="connsiteY7" fmla="*/ 244163 h 373192"/>
                <a:gd name="connsiteX8" fmla="*/ 0 w 369094"/>
                <a:gd name="connsiteY8" fmla="*/ 93665 h 373192"/>
                <a:gd name="connsiteX0" fmla="*/ 0 w 405426"/>
                <a:gd name="connsiteY0" fmla="*/ 93665 h 373192"/>
                <a:gd name="connsiteX1" fmla="*/ 93665 w 405426"/>
                <a:gd name="connsiteY1" fmla="*/ 0 h 373192"/>
                <a:gd name="connsiteX2" fmla="*/ 239710 w 405426"/>
                <a:gd name="connsiteY2" fmla="*/ 0 h 373192"/>
                <a:gd name="connsiteX3" fmla="*/ 361950 w 405426"/>
                <a:gd name="connsiteY3" fmla="*/ 91283 h 373192"/>
                <a:gd name="connsiteX4" fmla="*/ 369094 w 405426"/>
                <a:gd name="connsiteY4" fmla="*/ 353700 h 373192"/>
                <a:gd name="connsiteX5" fmla="*/ 239710 w 405426"/>
                <a:gd name="connsiteY5" fmla="*/ 337828 h 373192"/>
                <a:gd name="connsiteX6" fmla="*/ 93665 w 405426"/>
                <a:gd name="connsiteY6" fmla="*/ 337828 h 373192"/>
                <a:gd name="connsiteX7" fmla="*/ 0 w 405426"/>
                <a:gd name="connsiteY7" fmla="*/ 244163 h 373192"/>
                <a:gd name="connsiteX8" fmla="*/ 0 w 405426"/>
                <a:gd name="connsiteY8" fmla="*/ 93665 h 373192"/>
                <a:gd name="connsiteX0" fmla="*/ 0 w 412044"/>
                <a:gd name="connsiteY0" fmla="*/ 93665 h 373192"/>
                <a:gd name="connsiteX1" fmla="*/ 93665 w 412044"/>
                <a:gd name="connsiteY1" fmla="*/ 0 h 373192"/>
                <a:gd name="connsiteX2" fmla="*/ 239710 w 412044"/>
                <a:gd name="connsiteY2" fmla="*/ 0 h 373192"/>
                <a:gd name="connsiteX3" fmla="*/ 361950 w 412044"/>
                <a:gd name="connsiteY3" fmla="*/ 91283 h 373192"/>
                <a:gd name="connsiteX4" fmla="*/ 369094 w 412044"/>
                <a:gd name="connsiteY4" fmla="*/ 353700 h 373192"/>
                <a:gd name="connsiteX5" fmla="*/ 239710 w 412044"/>
                <a:gd name="connsiteY5" fmla="*/ 337828 h 373192"/>
                <a:gd name="connsiteX6" fmla="*/ 93665 w 412044"/>
                <a:gd name="connsiteY6" fmla="*/ 337828 h 373192"/>
                <a:gd name="connsiteX7" fmla="*/ 0 w 412044"/>
                <a:gd name="connsiteY7" fmla="*/ 244163 h 373192"/>
                <a:gd name="connsiteX8" fmla="*/ 0 w 412044"/>
                <a:gd name="connsiteY8" fmla="*/ 93665 h 373192"/>
                <a:gd name="connsiteX0" fmla="*/ 0 w 417068"/>
                <a:gd name="connsiteY0" fmla="*/ 93665 h 369364"/>
                <a:gd name="connsiteX1" fmla="*/ 93665 w 417068"/>
                <a:gd name="connsiteY1" fmla="*/ 0 h 369364"/>
                <a:gd name="connsiteX2" fmla="*/ 239710 w 417068"/>
                <a:gd name="connsiteY2" fmla="*/ 0 h 369364"/>
                <a:gd name="connsiteX3" fmla="*/ 361950 w 417068"/>
                <a:gd name="connsiteY3" fmla="*/ 91283 h 369364"/>
                <a:gd name="connsiteX4" fmla="*/ 376238 w 417068"/>
                <a:gd name="connsiteY4" fmla="*/ 348938 h 369364"/>
                <a:gd name="connsiteX5" fmla="*/ 239710 w 417068"/>
                <a:gd name="connsiteY5" fmla="*/ 337828 h 369364"/>
                <a:gd name="connsiteX6" fmla="*/ 93665 w 417068"/>
                <a:gd name="connsiteY6" fmla="*/ 337828 h 369364"/>
                <a:gd name="connsiteX7" fmla="*/ 0 w 417068"/>
                <a:gd name="connsiteY7" fmla="*/ 244163 h 369364"/>
                <a:gd name="connsiteX8" fmla="*/ 0 w 417068"/>
                <a:gd name="connsiteY8" fmla="*/ 93665 h 369364"/>
                <a:gd name="connsiteX0" fmla="*/ 0 w 407569"/>
                <a:gd name="connsiteY0" fmla="*/ 93665 h 369364"/>
                <a:gd name="connsiteX1" fmla="*/ 93665 w 407569"/>
                <a:gd name="connsiteY1" fmla="*/ 0 h 369364"/>
                <a:gd name="connsiteX2" fmla="*/ 239710 w 407569"/>
                <a:gd name="connsiteY2" fmla="*/ 0 h 369364"/>
                <a:gd name="connsiteX3" fmla="*/ 361950 w 407569"/>
                <a:gd name="connsiteY3" fmla="*/ 91283 h 369364"/>
                <a:gd name="connsiteX4" fmla="*/ 376238 w 407569"/>
                <a:gd name="connsiteY4" fmla="*/ 348938 h 369364"/>
                <a:gd name="connsiteX5" fmla="*/ 239710 w 407569"/>
                <a:gd name="connsiteY5" fmla="*/ 337828 h 369364"/>
                <a:gd name="connsiteX6" fmla="*/ 93665 w 407569"/>
                <a:gd name="connsiteY6" fmla="*/ 337828 h 369364"/>
                <a:gd name="connsiteX7" fmla="*/ 0 w 407569"/>
                <a:gd name="connsiteY7" fmla="*/ 244163 h 369364"/>
                <a:gd name="connsiteX8" fmla="*/ 0 w 407569"/>
                <a:gd name="connsiteY8" fmla="*/ 93665 h 369364"/>
                <a:gd name="connsiteX0" fmla="*/ 0 w 401248"/>
                <a:gd name="connsiteY0" fmla="*/ 93665 h 369364"/>
                <a:gd name="connsiteX1" fmla="*/ 93665 w 401248"/>
                <a:gd name="connsiteY1" fmla="*/ 0 h 369364"/>
                <a:gd name="connsiteX2" fmla="*/ 239710 w 401248"/>
                <a:gd name="connsiteY2" fmla="*/ 0 h 369364"/>
                <a:gd name="connsiteX3" fmla="*/ 361950 w 401248"/>
                <a:gd name="connsiteY3" fmla="*/ 91283 h 369364"/>
                <a:gd name="connsiteX4" fmla="*/ 376238 w 401248"/>
                <a:gd name="connsiteY4" fmla="*/ 348938 h 369364"/>
                <a:gd name="connsiteX5" fmla="*/ 239710 w 401248"/>
                <a:gd name="connsiteY5" fmla="*/ 337828 h 369364"/>
                <a:gd name="connsiteX6" fmla="*/ 93665 w 401248"/>
                <a:gd name="connsiteY6" fmla="*/ 337828 h 369364"/>
                <a:gd name="connsiteX7" fmla="*/ 0 w 401248"/>
                <a:gd name="connsiteY7" fmla="*/ 244163 h 369364"/>
                <a:gd name="connsiteX8" fmla="*/ 0 w 401248"/>
                <a:gd name="connsiteY8" fmla="*/ 93665 h 369364"/>
                <a:gd name="connsiteX0" fmla="*/ 0 w 405461"/>
                <a:gd name="connsiteY0" fmla="*/ 93665 h 369364"/>
                <a:gd name="connsiteX1" fmla="*/ 93665 w 405461"/>
                <a:gd name="connsiteY1" fmla="*/ 0 h 369364"/>
                <a:gd name="connsiteX2" fmla="*/ 239710 w 405461"/>
                <a:gd name="connsiteY2" fmla="*/ 0 h 369364"/>
                <a:gd name="connsiteX3" fmla="*/ 361950 w 405461"/>
                <a:gd name="connsiteY3" fmla="*/ 91283 h 369364"/>
                <a:gd name="connsiteX4" fmla="*/ 376238 w 405461"/>
                <a:gd name="connsiteY4" fmla="*/ 348938 h 369364"/>
                <a:gd name="connsiteX5" fmla="*/ 239710 w 405461"/>
                <a:gd name="connsiteY5" fmla="*/ 337828 h 369364"/>
                <a:gd name="connsiteX6" fmla="*/ 93665 w 405461"/>
                <a:gd name="connsiteY6" fmla="*/ 337828 h 369364"/>
                <a:gd name="connsiteX7" fmla="*/ 0 w 405461"/>
                <a:gd name="connsiteY7" fmla="*/ 244163 h 369364"/>
                <a:gd name="connsiteX8" fmla="*/ 0 w 405461"/>
                <a:gd name="connsiteY8" fmla="*/ 93665 h 369364"/>
                <a:gd name="connsiteX0" fmla="*/ 0 w 409271"/>
                <a:gd name="connsiteY0" fmla="*/ 93665 h 369364"/>
                <a:gd name="connsiteX1" fmla="*/ 93665 w 409271"/>
                <a:gd name="connsiteY1" fmla="*/ 0 h 369364"/>
                <a:gd name="connsiteX2" fmla="*/ 239710 w 409271"/>
                <a:gd name="connsiteY2" fmla="*/ 0 h 369364"/>
                <a:gd name="connsiteX3" fmla="*/ 361950 w 409271"/>
                <a:gd name="connsiteY3" fmla="*/ 91283 h 369364"/>
                <a:gd name="connsiteX4" fmla="*/ 376238 w 409271"/>
                <a:gd name="connsiteY4" fmla="*/ 348938 h 369364"/>
                <a:gd name="connsiteX5" fmla="*/ 239710 w 409271"/>
                <a:gd name="connsiteY5" fmla="*/ 337828 h 369364"/>
                <a:gd name="connsiteX6" fmla="*/ 93665 w 409271"/>
                <a:gd name="connsiteY6" fmla="*/ 337828 h 369364"/>
                <a:gd name="connsiteX7" fmla="*/ 0 w 409271"/>
                <a:gd name="connsiteY7" fmla="*/ 244163 h 369364"/>
                <a:gd name="connsiteX8" fmla="*/ 0 w 409271"/>
                <a:gd name="connsiteY8" fmla="*/ 93665 h 369364"/>
                <a:gd name="connsiteX0" fmla="*/ 0 w 444989"/>
                <a:gd name="connsiteY0" fmla="*/ 91284 h 369364"/>
                <a:gd name="connsiteX1" fmla="*/ 129383 w 444989"/>
                <a:gd name="connsiteY1" fmla="*/ 0 h 369364"/>
                <a:gd name="connsiteX2" fmla="*/ 275428 w 444989"/>
                <a:gd name="connsiteY2" fmla="*/ 0 h 369364"/>
                <a:gd name="connsiteX3" fmla="*/ 397668 w 444989"/>
                <a:gd name="connsiteY3" fmla="*/ 91283 h 369364"/>
                <a:gd name="connsiteX4" fmla="*/ 411956 w 444989"/>
                <a:gd name="connsiteY4" fmla="*/ 348938 h 369364"/>
                <a:gd name="connsiteX5" fmla="*/ 275428 w 444989"/>
                <a:gd name="connsiteY5" fmla="*/ 337828 h 369364"/>
                <a:gd name="connsiteX6" fmla="*/ 129383 w 444989"/>
                <a:gd name="connsiteY6" fmla="*/ 337828 h 369364"/>
                <a:gd name="connsiteX7" fmla="*/ 35718 w 444989"/>
                <a:gd name="connsiteY7" fmla="*/ 244163 h 369364"/>
                <a:gd name="connsiteX8" fmla="*/ 0 w 444989"/>
                <a:gd name="connsiteY8" fmla="*/ 91284 h 369364"/>
                <a:gd name="connsiteX0" fmla="*/ 0 w 444989"/>
                <a:gd name="connsiteY0" fmla="*/ 91284 h 369364"/>
                <a:gd name="connsiteX1" fmla="*/ 129383 w 444989"/>
                <a:gd name="connsiteY1" fmla="*/ 0 h 369364"/>
                <a:gd name="connsiteX2" fmla="*/ 275428 w 444989"/>
                <a:gd name="connsiteY2" fmla="*/ 0 h 369364"/>
                <a:gd name="connsiteX3" fmla="*/ 397668 w 444989"/>
                <a:gd name="connsiteY3" fmla="*/ 91283 h 369364"/>
                <a:gd name="connsiteX4" fmla="*/ 411956 w 444989"/>
                <a:gd name="connsiteY4" fmla="*/ 348938 h 369364"/>
                <a:gd name="connsiteX5" fmla="*/ 275428 w 444989"/>
                <a:gd name="connsiteY5" fmla="*/ 337828 h 369364"/>
                <a:gd name="connsiteX6" fmla="*/ 129383 w 444989"/>
                <a:gd name="connsiteY6" fmla="*/ 337828 h 369364"/>
                <a:gd name="connsiteX7" fmla="*/ 35718 w 444989"/>
                <a:gd name="connsiteY7" fmla="*/ 244163 h 369364"/>
                <a:gd name="connsiteX8" fmla="*/ 0 w 444989"/>
                <a:gd name="connsiteY8" fmla="*/ 91284 h 369364"/>
                <a:gd name="connsiteX0" fmla="*/ 0 w 444989"/>
                <a:gd name="connsiteY0" fmla="*/ 91284 h 369364"/>
                <a:gd name="connsiteX1" fmla="*/ 129383 w 444989"/>
                <a:gd name="connsiteY1" fmla="*/ 0 h 369364"/>
                <a:gd name="connsiteX2" fmla="*/ 275428 w 444989"/>
                <a:gd name="connsiteY2" fmla="*/ 0 h 369364"/>
                <a:gd name="connsiteX3" fmla="*/ 397668 w 444989"/>
                <a:gd name="connsiteY3" fmla="*/ 91283 h 369364"/>
                <a:gd name="connsiteX4" fmla="*/ 411956 w 444989"/>
                <a:gd name="connsiteY4" fmla="*/ 348938 h 369364"/>
                <a:gd name="connsiteX5" fmla="*/ 275428 w 444989"/>
                <a:gd name="connsiteY5" fmla="*/ 337828 h 369364"/>
                <a:gd name="connsiteX6" fmla="*/ 129383 w 444989"/>
                <a:gd name="connsiteY6" fmla="*/ 337828 h 369364"/>
                <a:gd name="connsiteX7" fmla="*/ 35718 w 444989"/>
                <a:gd name="connsiteY7" fmla="*/ 244163 h 369364"/>
                <a:gd name="connsiteX8" fmla="*/ 0 w 444989"/>
                <a:gd name="connsiteY8" fmla="*/ 91284 h 369364"/>
                <a:gd name="connsiteX0" fmla="*/ 51 w 445040"/>
                <a:gd name="connsiteY0" fmla="*/ 91284 h 369364"/>
                <a:gd name="connsiteX1" fmla="*/ 129434 w 445040"/>
                <a:gd name="connsiteY1" fmla="*/ 0 h 369364"/>
                <a:gd name="connsiteX2" fmla="*/ 275479 w 445040"/>
                <a:gd name="connsiteY2" fmla="*/ 0 h 369364"/>
                <a:gd name="connsiteX3" fmla="*/ 397719 w 445040"/>
                <a:gd name="connsiteY3" fmla="*/ 91283 h 369364"/>
                <a:gd name="connsiteX4" fmla="*/ 412007 w 445040"/>
                <a:gd name="connsiteY4" fmla="*/ 348938 h 369364"/>
                <a:gd name="connsiteX5" fmla="*/ 275479 w 445040"/>
                <a:gd name="connsiteY5" fmla="*/ 337828 h 369364"/>
                <a:gd name="connsiteX6" fmla="*/ 129434 w 445040"/>
                <a:gd name="connsiteY6" fmla="*/ 337828 h 369364"/>
                <a:gd name="connsiteX7" fmla="*/ 35769 w 445040"/>
                <a:gd name="connsiteY7" fmla="*/ 244163 h 369364"/>
                <a:gd name="connsiteX8" fmla="*/ 51 w 445040"/>
                <a:gd name="connsiteY8" fmla="*/ 91284 h 369364"/>
                <a:gd name="connsiteX0" fmla="*/ 9526 w 454515"/>
                <a:gd name="connsiteY0" fmla="*/ 91284 h 373192"/>
                <a:gd name="connsiteX1" fmla="*/ 138909 w 454515"/>
                <a:gd name="connsiteY1" fmla="*/ 0 h 373192"/>
                <a:gd name="connsiteX2" fmla="*/ 284954 w 454515"/>
                <a:gd name="connsiteY2" fmla="*/ 0 h 373192"/>
                <a:gd name="connsiteX3" fmla="*/ 407194 w 454515"/>
                <a:gd name="connsiteY3" fmla="*/ 91283 h 373192"/>
                <a:gd name="connsiteX4" fmla="*/ 421482 w 454515"/>
                <a:gd name="connsiteY4" fmla="*/ 348938 h 373192"/>
                <a:gd name="connsiteX5" fmla="*/ 284954 w 454515"/>
                <a:gd name="connsiteY5" fmla="*/ 337828 h 373192"/>
                <a:gd name="connsiteX6" fmla="*/ 138909 w 454515"/>
                <a:gd name="connsiteY6" fmla="*/ 337828 h 373192"/>
                <a:gd name="connsiteX7" fmla="*/ 0 w 454515"/>
                <a:gd name="connsiteY7" fmla="*/ 353701 h 373192"/>
                <a:gd name="connsiteX8" fmla="*/ 9526 w 454515"/>
                <a:gd name="connsiteY8" fmla="*/ 91284 h 373192"/>
                <a:gd name="connsiteX0" fmla="*/ 49818 w 494807"/>
                <a:gd name="connsiteY0" fmla="*/ 91284 h 373192"/>
                <a:gd name="connsiteX1" fmla="*/ 179201 w 494807"/>
                <a:gd name="connsiteY1" fmla="*/ 0 h 373192"/>
                <a:gd name="connsiteX2" fmla="*/ 325246 w 494807"/>
                <a:gd name="connsiteY2" fmla="*/ 0 h 373192"/>
                <a:gd name="connsiteX3" fmla="*/ 447486 w 494807"/>
                <a:gd name="connsiteY3" fmla="*/ 91283 h 373192"/>
                <a:gd name="connsiteX4" fmla="*/ 461774 w 494807"/>
                <a:gd name="connsiteY4" fmla="*/ 348938 h 373192"/>
                <a:gd name="connsiteX5" fmla="*/ 325246 w 494807"/>
                <a:gd name="connsiteY5" fmla="*/ 337828 h 373192"/>
                <a:gd name="connsiteX6" fmla="*/ 179201 w 494807"/>
                <a:gd name="connsiteY6" fmla="*/ 337828 h 373192"/>
                <a:gd name="connsiteX7" fmla="*/ 40292 w 494807"/>
                <a:gd name="connsiteY7" fmla="*/ 353701 h 373192"/>
                <a:gd name="connsiteX8" fmla="*/ 49818 w 494807"/>
                <a:gd name="connsiteY8" fmla="*/ 91284 h 373192"/>
                <a:gd name="connsiteX0" fmla="*/ 43482 w 488471"/>
                <a:gd name="connsiteY0" fmla="*/ 91284 h 373192"/>
                <a:gd name="connsiteX1" fmla="*/ 172865 w 488471"/>
                <a:gd name="connsiteY1" fmla="*/ 0 h 373192"/>
                <a:gd name="connsiteX2" fmla="*/ 318910 w 488471"/>
                <a:gd name="connsiteY2" fmla="*/ 0 h 373192"/>
                <a:gd name="connsiteX3" fmla="*/ 441150 w 488471"/>
                <a:gd name="connsiteY3" fmla="*/ 91283 h 373192"/>
                <a:gd name="connsiteX4" fmla="*/ 455438 w 488471"/>
                <a:gd name="connsiteY4" fmla="*/ 348938 h 373192"/>
                <a:gd name="connsiteX5" fmla="*/ 318910 w 488471"/>
                <a:gd name="connsiteY5" fmla="*/ 337828 h 373192"/>
                <a:gd name="connsiteX6" fmla="*/ 172865 w 488471"/>
                <a:gd name="connsiteY6" fmla="*/ 337828 h 373192"/>
                <a:gd name="connsiteX7" fmla="*/ 33956 w 488471"/>
                <a:gd name="connsiteY7" fmla="*/ 353701 h 373192"/>
                <a:gd name="connsiteX8" fmla="*/ 43482 w 488471"/>
                <a:gd name="connsiteY8" fmla="*/ 91284 h 373192"/>
                <a:gd name="connsiteX0" fmla="*/ 47717 w 492706"/>
                <a:gd name="connsiteY0" fmla="*/ 91284 h 373192"/>
                <a:gd name="connsiteX1" fmla="*/ 177100 w 492706"/>
                <a:gd name="connsiteY1" fmla="*/ 0 h 373192"/>
                <a:gd name="connsiteX2" fmla="*/ 323145 w 492706"/>
                <a:gd name="connsiteY2" fmla="*/ 0 h 373192"/>
                <a:gd name="connsiteX3" fmla="*/ 445385 w 492706"/>
                <a:gd name="connsiteY3" fmla="*/ 91283 h 373192"/>
                <a:gd name="connsiteX4" fmla="*/ 459673 w 492706"/>
                <a:gd name="connsiteY4" fmla="*/ 348938 h 373192"/>
                <a:gd name="connsiteX5" fmla="*/ 323145 w 492706"/>
                <a:gd name="connsiteY5" fmla="*/ 337828 h 373192"/>
                <a:gd name="connsiteX6" fmla="*/ 177100 w 492706"/>
                <a:gd name="connsiteY6" fmla="*/ 337828 h 373192"/>
                <a:gd name="connsiteX7" fmla="*/ 38191 w 492706"/>
                <a:gd name="connsiteY7" fmla="*/ 353701 h 373192"/>
                <a:gd name="connsiteX8" fmla="*/ 47717 w 492706"/>
                <a:gd name="connsiteY8" fmla="*/ 91284 h 373192"/>
                <a:gd name="connsiteX0" fmla="*/ 46590 w 491579"/>
                <a:gd name="connsiteY0" fmla="*/ 91284 h 373192"/>
                <a:gd name="connsiteX1" fmla="*/ 175973 w 491579"/>
                <a:gd name="connsiteY1" fmla="*/ 0 h 373192"/>
                <a:gd name="connsiteX2" fmla="*/ 322018 w 491579"/>
                <a:gd name="connsiteY2" fmla="*/ 0 h 373192"/>
                <a:gd name="connsiteX3" fmla="*/ 444258 w 491579"/>
                <a:gd name="connsiteY3" fmla="*/ 91283 h 373192"/>
                <a:gd name="connsiteX4" fmla="*/ 458546 w 491579"/>
                <a:gd name="connsiteY4" fmla="*/ 348938 h 373192"/>
                <a:gd name="connsiteX5" fmla="*/ 322018 w 491579"/>
                <a:gd name="connsiteY5" fmla="*/ 337828 h 373192"/>
                <a:gd name="connsiteX6" fmla="*/ 175973 w 491579"/>
                <a:gd name="connsiteY6" fmla="*/ 337828 h 373192"/>
                <a:gd name="connsiteX7" fmla="*/ 37064 w 491579"/>
                <a:gd name="connsiteY7" fmla="*/ 353701 h 373192"/>
                <a:gd name="connsiteX8" fmla="*/ 46590 w 491579"/>
                <a:gd name="connsiteY8" fmla="*/ 91284 h 373192"/>
                <a:gd name="connsiteX0" fmla="*/ 46590 w 491579"/>
                <a:gd name="connsiteY0" fmla="*/ 91284 h 378227"/>
                <a:gd name="connsiteX1" fmla="*/ 175973 w 491579"/>
                <a:gd name="connsiteY1" fmla="*/ 0 h 378227"/>
                <a:gd name="connsiteX2" fmla="*/ 322018 w 491579"/>
                <a:gd name="connsiteY2" fmla="*/ 0 h 378227"/>
                <a:gd name="connsiteX3" fmla="*/ 444258 w 491579"/>
                <a:gd name="connsiteY3" fmla="*/ 91283 h 378227"/>
                <a:gd name="connsiteX4" fmla="*/ 458546 w 491579"/>
                <a:gd name="connsiteY4" fmla="*/ 348938 h 378227"/>
                <a:gd name="connsiteX5" fmla="*/ 322018 w 491579"/>
                <a:gd name="connsiteY5" fmla="*/ 337828 h 378227"/>
                <a:gd name="connsiteX6" fmla="*/ 111679 w 491579"/>
                <a:gd name="connsiteY6" fmla="*/ 359259 h 378227"/>
                <a:gd name="connsiteX7" fmla="*/ 37064 w 491579"/>
                <a:gd name="connsiteY7" fmla="*/ 353701 h 378227"/>
                <a:gd name="connsiteX8" fmla="*/ 46590 w 491579"/>
                <a:gd name="connsiteY8" fmla="*/ 91284 h 378227"/>
                <a:gd name="connsiteX0" fmla="*/ 46590 w 491579"/>
                <a:gd name="connsiteY0" fmla="*/ 91284 h 378227"/>
                <a:gd name="connsiteX1" fmla="*/ 175973 w 491579"/>
                <a:gd name="connsiteY1" fmla="*/ 0 h 378227"/>
                <a:gd name="connsiteX2" fmla="*/ 322018 w 491579"/>
                <a:gd name="connsiteY2" fmla="*/ 0 h 378227"/>
                <a:gd name="connsiteX3" fmla="*/ 444258 w 491579"/>
                <a:gd name="connsiteY3" fmla="*/ 91283 h 378227"/>
                <a:gd name="connsiteX4" fmla="*/ 458546 w 491579"/>
                <a:gd name="connsiteY4" fmla="*/ 348938 h 378227"/>
                <a:gd name="connsiteX5" fmla="*/ 372025 w 491579"/>
                <a:gd name="connsiteY5" fmla="*/ 359259 h 378227"/>
                <a:gd name="connsiteX6" fmla="*/ 111679 w 491579"/>
                <a:gd name="connsiteY6" fmla="*/ 359259 h 378227"/>
                <a:gd name="connsiteX7" fmla="*/ 37064 w 491579"/>
                <a:gd name="connsiteY7" fmla="*/ 353701 h 378227"/>
                <a:gd name="connsiteX8" fmla="*/ 46590 w 491579"/>
                <a:gd name="connsiteY8" fmla="*/ 91284 h 378227"/>
                <a:gd name="connsiteX0" fmla="*/ 39838 w 484827"/>
                <a:gd name="connsiteY0" fmla="*/ 91284 h 390796"/>
                <a:gd name="connsiteX1" fmla="*/ 169221 w 484827"/>
                <a:gd name="connsiteY1" fmla="*/ 0 h 390796"/>
                <a:gd name="connsiteX2" fmla="*/ 315266 w 484827"/>
                <a:gd name="connsiteY2" fmla="*/ 0 h 390796"/>
                <a:gd name="connsiteX3" fmla="*/ 437506 w 484827"/>
                <a:gd name="connsiteY3" fmla="*/ 91283 h 390796"/>
                <a:gd name="connsiteX4" fmla="*/ 451794 w 484827"/>
                <a:gd name="connsiteY4" fmla="*/ 348938 h 390796"/>
                <a:gd name="connsiteX5" fmla="*/ 365273 w 484827"/>
                <a:gd name="connsiteY5" fmla="*/ 359259 h 390796"/>
                <a:gd name="connsiteX6" fmla="*/ 104927 w 484827"/>
                <a:gd name="connsiteY6" fmla="*/ 359259 h 390796"/>
                <a:gd name="connsiteX7" fmla="*/ 39837 w 484827"/>
                <a:gd name="connsiteY7" fmla="*/ 370370 h 390796"/>
                <a:gd name="connsiteX8" fmla="*/ 39838 w 484827"/>
                <a:gd name="connsiteY8" fmla="*/ 91284 h 390796"/>
                <a:gd name="connsiteX0" fmla="*/ 44035 w 489024"/>
                <a:gd name="connsiteY0" fmla="*/ 91284 h 390796"/>
                <a:gd name="connsiteX1" fmla="*/ 173418 w 489024"/>
                <a:gd name="connsiteY1" fmla="*/ 0 h 390796"/>
                <a:gd name="connsiteX2" fmla="*/ 319463 w 489024"/>
                <a:gd name="connsiteY2" fmla="*/ 0 h 390796"/>
                <a:gd name="connsiteX3" fmla="*/ 441703 w 489024"/>
                <a:gd name="connsiteY3" fmla="*/ 91283 h 390796"/>
                <a:gd name="connsiteX4" fmla="*/ 455991 w 489024"/>
                <a:gd name="connsiteY4" fmla="*/ 348938 h 390796"/>
                <a:gd name="connsiteX5" fmla="*/ 369470 w 489024"/>
                <a:gd name="connsiteY5" fmla="*/ 359259 h 390796"/>
                <a:gd name="connsiteX6" fmla="*/ 109124 w 489024"/>
                <a:gd name="connsiteY6" fmla="*/ 359259 h 390796"/>
                <a:gd name="connsiteX7" fmla="*/ 44034 w 489024"/>
                <a:gd name="connsiteY7" fmla="*/ 370370 h 390796"/>
                <a:gd name="connsiteX8" fmla="*/ 44035 w 489024"/>
                <a:gd name="connsiteY8" fmla="*/ 91284 h 390796"/>
                <a:gd name="connsiteX0" fmla="*/ 42394 w 487383"/>
                <a:gd name="connsiteY0" fmla="*/ 91284 h 376566"/>
                <a:gd name="connsiteX1" fmla="*/ 171777 w 487383"/>
                <a:gd name="connsiteY1" fmla="*/ 0 h 376566"/>
                <a:gd name="connsiteX2" fmla="*/ 317822 w 487383"/>
                <a:gd name="connsiteY2" fmla="*/ 0 h 376566"/>
                <a:gd name="connsiteX3" fmla="*/ 440062 w 487383"/>
                <a:gd name="connsiteY3" fmla="*/ 91283 h 376566"/>
                <a:gd name="connsiteX4" fmla="*/ 454350 w 487383"/>
                <a:gd name="connsiteY4" fmla="*/ 348938 h 376566"/>
                <a:gd name="connsiteX5" fmla="*/ 367829 w 487383"/>
                <a:gd name="connsiteY5" fmla="*/ 359259 h 376566"/>
                <a:gd name="connsiteX6" fmla="*/ 107483 w 487383"/>
                <a:gd name="connsiteY6" fmla="*/ 359259 h 376566"/>
                <a:gd name="connsiteX7" fmla="*/ 44774 w 487383"/>
                <a:gd name="connsiteY7" fmla="*/ 351320 h 376566"/>
                <a:gd name="connsiteX8" fmla="*/ 42394 w 487383"/>
                <a:gd name="connsiteY8" fmla="*/ 91284 h 376566"/>
                <a:gd name="connsiteX0" fmla="*/ 42394 w 487383"/>
                <a:gd name="connsiteY0" fmla="*/ 91284 h 374947"/>
                <a:gd name="connsiteX1" fmla="*/ 171777 w 487383"/>
                <a:gd name="connsiteY1" fmla="*/ 0 h 374947"/>
                <a:gd name="connsiteX2" fmla="*/ 317822 w 487383"/>
                <a:gd name="connsiteY2" fmla="*/ 0 h 374947"/>
                <a:gd name="connsiteX3" fmla="*/ 440062 w 487383"/>
                <a:gd name="connsiteY3" fmla="*/ 91283 h 374947"/>
                <a:gd name="connsiteX4" fmla="*/ 454350 w 487383"/>
                <a:gd name="connsiteY4" fmla="*/ 348938 h 374947"/>
                <a:gd name="connsiteX5" fmla="*/ 367829 w 487383"/>
                <a:gd name="connsiteY5" fmla="*/ 359259 h 374947"/>
                <a:gd name="connsiteX6" fmla="*/ 107483 w 487383"/>
                <a:gd name="connsiteY6" fmla="*/ 359259 h 374947"/>
                <a:gd name="connsiteX7" fmla="*/ 44774 w 487383"/>
                <a:gd name="connsiteY7" fmla="*/ 351320 h 374947"/>
                <a:gd name="connsiteX8" fmla="*/ 42394 w 487383"/>
                <a:gd name="connsiteY8" fmla="*/ 91284 h 374947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48938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48938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63225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63225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63225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63225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5809" h="377445">
                  <a:moveTo>
                    <a:pt x="50820" y="91284"/>
                  </a:moveTo>
                  <a:cubicBezTo>
                    <a:pt x="107970" y="8598"/>
                    <a:pt x="128473" y="0"/>
                    <a:pt x="180203" y="0"/>
                  </a:cubicBezTo>
                  <a:lnTo>
                    <a:pt x="326248" y="0"/>
                  </a:lnTo>
                  <a:cubicBezTo>
                    <a:pt x="377978" y="0"/>
                    <a:pt x="400864" y="1453"/>
                    <a:pt x="448488" y="91283"/>
                  </a:cubicBezTo>
                  <a:cubicBezTo>
                    <a:pt x="491350" y="146211"/>
                    <a:pt x="522307" y="291627"/>
                    <a:pt x="462776" y="363225"/>
                  </a:cubicBezTo>
                  <a:cubicBezTo>
                    <a:pt x="417532" y="386380"/>
                    <a:pt x="427985" y="359259"/>
                    <a:pt x="376255" y="359259"/>
                  </a:cubicBezTo>
                  <a:lnTo>
                    <a:pt x="115909" y="359259"/>
                  </a:lnTo>
                  <a:cubicBezTo>
                    <a:pt x="64179" y="359259"/>
                    <a:pt x="65106" y="393524"/>
                    <a:pt x="41294" y="367988"/>
                  </a:cubicBezTo>
                  <a:cubicBezTo>
                    <a:pt x="-48399" y="275755"/>
                    <a:pt x="33358" y="121607"/>
                    <a:pt x="50820" y="91284"/>
                  </a:cubicBez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ounded Rectangle 32">
              <a:extLst>
                <a:ext uri="{FF2B5EF4-FFF2-40B4-BE49-F238E27FC236}">
                  <a16:creationId xmlns:a16="http://schemas.microsoft.com/office/drawing/2014/main" id="{09D94368-C7E0-4F25-AC1F-26DF4A011EE4}"/>
                </a:ext>
              </a:extLst>
            </p:cNvPr>
            <p:cNvSpPr/>
            <p:nvPr/>
          </p:nvSpPr>
          <p:spPr>
            <a:xfrm>
              <a:off x="3342293" y="1973894"/>
              <a:ext cx="250663" cy="286495"/>
            </a:xfrm>
            <a:prstGeom prst="round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ounded Rectangle 33">
              <a:extLst>
                <a:ext uri="{FF2B5EF4-FFF2-40B4-BE49-F238E27FC236}">
                  <a16:creationId xmlns:a16="http://schemas.microsoft.com/office/drawing/2014/main" id="{EF15047D-6A24-42BC-A6DA-E9C02F413EE8}"/>
                </a:ext>
              </a:extLst>
            </p:cNvPr>
            <p:cNvSpPr/>
            <p:nvPr/>
          </p:nvSpPr>
          <p:spPr>
            <a:xfrm>
              <a:off x="2303328" y="1960474"/>
              <a:ext cx="250663" cy="286495"/>
            </a:xfrm>
            <a:prstGeom prst="round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8">
              <a:extLst>
                <a:ext uri="{FF2B5EF4-FFF2-40B4-BE49-F238E27FC236}">
                  <a16:creationId xmlns:a16="http://schemas.microsoft.com/office/drawing/2014/main" id="{6E03202D-E832-42FA-AC64-9B6311B4FF6F}"/>
                </a:ext>
              </a:extLst>
            </p:cNvPr>
            <p:cNvSpPr/>
            <p:nvPr/>
          </p:nvSpPr>
          <p:spPr>
            <a:xfrm>
              <a:off x="3567737" y="1363343"/>
              <a:ext cx="271633" cy="174444"/>
            </a:xfrm>
            <a:custGeom>
              <a:avLst/>
              <a:gdLst>
                <a:gd name="connsiteX0" fmla="*/ 0 w 96002"/>
                <a:gd name="connsiteY0" fmla="*/ 0 h 59531"/>
                <a:gd name="connsiteX1" fmla="*/ 96002 w 96002"/>
                <a:gd name="connsiteY1" fmla="*/ 0 h 59531"/>
                <a:gd name="connsiteX2" fmla="*/ 96002 w 96002"/>
                <a:gd name="connsiteY2" fmla="*/ 59531 h 59531"/>
                <a:gd name="connsiteX3" fmla="*/ 0 w 96002"/>
                <a:gd name="connsiteY3" fmla="*/ 59531 h 59531"/>
                <a:gd name="connsiteX4" fmla="*/ 0 w 96002"/>
                <a:gd name="connsiteY4" fmla="*/ 0 h 59531"/>
                <a:gd name="connsiteX0" fmla="*/ 0 w 96002"/>
                <a:gd name="connsiteY0" fmla="*/ 2381 h 61912"/>
                <a:gd name="connsiteX1" fmla="*/ 67427 w 96002"/>
                <a:gd name="connsiteY1" fmla="*/ 0 h 61912"/>
                <a:gd name="connsiteX2" fmla="*/ 96002 w 96002"/>
                <a:gd name="connsiteY2" fmla="*/ 61912 h 61912"/>
                <a:gd name="connsiteX3" fmla="*/ 0 w 96002"/>
                <a:gd name="connsiteY3" fmla="*/ 61912 h 61912"/>
                <a:gd name="connsiteX4" fmla="*/ 0 w 96002"/>
                <a:gd name="connsiteY4" fmla="*/ 2381 h 61912"/>
                <a:gd name="connsiteX0" fmla="*/ 0 w 96002"/>
                <a:gd name="connsiteY0" fmla="*/ 0 h 59531"/>
                <a:gd name="connsiteX1" fmla="*/ 48377 w 96002"/>
                <a:gd name="connsiteY1" fmla="*/ 30957 h 59531"/>
                <a:gd name="connsiteX2" fmla="*/ 96002 w 96002"/>
                <a:gd name="connsiteY2" fmla="*/ 59531 h 59531"/>
                <a:gd name="connsiteX3" fmla="*/ 0 w 96002"/>
                <a:gd name="connsiteY3" fmla="*/ 59531 h 59531"/>
                <a:gd name="connsiteX4" fmla="*/ 0 w 96002"/>
                <a:gd name="connsiteY4" fmla="*/ 0 h 59531"/>
                <a:gd name="connsiteX0" fmla="*/ 0 w 96002"/>
                <a:gd name="connsiteY0" fmla="*/ 2381 h 61912"/>
                <a:gd name="connsiteX1" fmla="*/ 60283 w 96002"/>
                <a:gd name="connsiteY1" fmla="*/ 0 h 61912"/>
                <a:gd name="connsiteX2" fmla="*/ 96002 w 96002"/>
                <a:gd name="connsiteY2" fmla="*/ 61912 h 61912"/>
                <a:gd name="connsiteX3" fmla="*/ 0 w 96002"/>
                <a:gd name="connsiteY3" fmla="*/ 61912 h 61912"/>
                <a:gd name="connsiteX4" fmla="*/ 0 w 96002"/>
                <a:gd name="connsiteY4" fmla="*/ 2381 h 61912"/>
                <a:gd name="connsiteX0" fmla="*/ 0 w 60283"/>
                <a:gd name="connsiteY0" fmla="*/ 2381 h 61912"/>
                <a:gd name="connsiteX1" fmla="*/ 60283 w 60283"/>
                <a:gd name="connsiteY1" fmla="*/ 0 h 61912"/>
                <a:gd name="connsiteX2" fmla="*/ 31709 w 60283"/>
                <a:gd name="connsiteY2" fmla="*/ 42862 h 61912"/>
                <a:gd name="connsiteX3" fmla="*/ 0 w 60283"/>
                <a:gd name="connsiteY3" fmla="*/ 61912 h 61912"/>
                <a:gd name="connsiteX4" fmla="*/ 0 w 60283"/>
                <a:gd name="connsiteY4" fmla="*/ 2381 h 61912"/>
                <a:gd name="connsiteX0" fmla="*/ 0 w 79334"/>
                <a:gd name="connsiteY0" fmla="*/ 2381 h 61912"/>
                <a:gd name="connsiteX1" fmla="*/ 60283 w 79334"/>
                <a:gd name="connsiteY1" fmla="*/ 0 h 61912"/>
                <a:gd name="connsiteX2" fmla="*/ 79334 w 79334"/>
                <a:gd name="connsiteY2" fmla="*/ 59531 h 61912"/>
                <a:gd name="connsiteX3" fmla="*/ 0 w 79334"/>
                <a:gd name="connsiteY3" fmla="*/ 61912 h 61912"/>
                <a:gd name="connsiteX4" fmla="*/ 0 w 79334"/>
                <a:gd name="connsiteY4" fmla="*/ 2381 h 61912"/>
                <a:gd name="connsiteX0" fmla="*/ 0 w 82505"/>
                <a:gd name="connsiteY0" fmla="*/ 2381 h 61912"/>
                <a:gd name="connsiteX1" fmla="*/ 60283 w 82505"/>
                <a:gd name="connsiteY1" fmla="*/ 0 h 61912"/>
                <a:gd name="connsiteX2" fmla="*/ 79334 w 82505"/>
                <a:gd name="connsiteY2" fmla="*/ 59531 h 61912"/>
                <a:gd name="connsiteX3" fmla="*/ 0 w 82505"/>
                <a:gd name="connsiteY3" fmla="*/ 61912 h 61912"/>
                <a:gd name="connsiteX4" fmla="*/ 0 w 82505"/>
                <a:gd name="connsiteY4" fmla="*/ 2381 h 61912"/>
                <a:gd name="connsiteX0" fmla="*/ 0 w 83475"/>
                <a:gd name="connsiteY0" fmla="*/ 2381 h 61912"/>
                <a:gd name="connsiteX1" fmla="*/ 60283 w 83475"/>
                <a:gd name="connsiteY1" fmla="*/ 0 h 61912"/>
                <a:gd name="connsiteX2" fmla="*/ 79334 w 83475"/>
                <a:gd name="connsiteY2" fmla="*/ 59531 h 61912"/>
                <a:gd name="connsiteX3" fmla="*/ 0 w 83475"/>
                <a:gd name="connsiteY3" fmla="*/ 61912 h 61912"/>
                <a:gd name="connsiteX4" fmla="*/ 0 w 83475"/>
                <a:gd name="connsiteY4" fmla="*/ 2381 h 61912"/>
                <a:gd name="connsiteX0" fmla="*/ 0 w 85004"/>
                <a:gd name="connsiteY0" fmla="*/ 2381 h 61912"/>
                <a:gd name="connsiteX1" fmla="*/ 60283 w 85004"/>
                <a:gd name="connsiteY1" fmla="*/ 0 h 61912"/>
                <a:gd name="connsiteX2" fmla="*/ 79334 w 85004"/>
                <a:gd name="connsiteY2" fmla="*/ 59531 h 61912"/>
                <a:gd name="connsiteX3" fmla="*/ 0 w 85004"/>
                <a:gd name="connsiteY3" fmla="*/ 61912 h 61912"/>
                <a:gd name="connsiteX4" fmla="*/ 0 w 85004"/>
                <a:gd name="connsiteY4" fmla="*/ 2381 h 61912"/>
                <a:gd name="connsiteX0" fmla="*/ 0 w 87385"/>
                <a:gd name="connsiteY0" fmla="*/ 2381 h 61912"/>
                <a:gd name="connsiteX1" fmla="*/ 62664 w 87385"/>
                <a:gd name="connsiteY1" fmla="*/ 0 h 61912"/>
                <a:gd name="connsiteX2" fmla="*/ 81715 w 87385"/>
                <a:gd name="connsiteY2" fmla="*/ 59531 h 61912"/>
                <a:gd name="connsiteX3" fmla="*/ 2381 w 87385"/>
                <a:gd name="connsiteY3" fmla="*/ 61912 h 61912"/>
                <a:gd name="connsiteX4" fmla="*/ 0 w 87385"/>
                <a:gd name="connsiteY4" fmla="*/ 2381 h 61912"/>
                <a:gd name="connsiteX0" fmla="*/ 0 w 89766"/>
                <a:gd name="connsiteY0" fmla="*/ 0 h 61913"/>
                <a:gd name="connsiteX1" fmla="*/ 65045 w 89766"/>
                <a:gd name="connsiteY1" fmla="*/ 1 h 61913"/>
                <a:gd name="connsiteX2" fmla="*/ 84096 w 89766"/>
                <a:gd name="connsiteY2" fmla="*/ 59532 h 61913"/>
                <a:gd name="connsiteX3" fmla="*/ 4762 w 89766"/>
                <a:gd name="connsiteY3" fmla="*/ 61913 h 61913"/>
                <a:gd name="connsiteX4" fmla="*/ 0 w 89766"/>
                <a:gd name="connsiteY4" fmla="*/ 0 h 61913"/>
                <a:gd name="connsiteX0" fmla="*/ 0 w 89766"/>
                <a:gd name="connsiteY0" fmla="*/ 0 h 61913"/>
                <a:gd name="connsiteX1" fmla="*/ 65045 w 89766"/>
                <a:gd name="connsiteY1" fmla="*/ 1 h 61913"/>
                <a:gd name="connsiteX2" fmla="*/ 84096 w 89766"/>
                <a:gd name="connsiteY2" fmla="*/ 59532 h 61913"/>
                <a:gd name="connsiteX3" fmla="*/ 4762 w 89766"/>
                <a:gd name="connsiteY3" fmla="*/ 61913 h 61913"/>
                <a:gd name="connsiteX4" fmla="*/ 0 w 89766"/>
                <a:gd name="connsiteY4" fmla="*/ 0 h 61913"/>
                <a:gd name="connsiteX0" fmla="*/ 0 w 79507"/>
                <a:gd name="connsiteY0" fmla="*/ 0 h 61913"/>
                <a:gd name="connsiteX1" fmla="*/ 65045 w 79507"/>
                <a:gd name="connsiteY1" fmla="*/ 1 h 61913"/>
                <a:gd name="connsiteX2" fmla="*/ 67428 w 79507"/>
                <a:gd name="connsiteY2" fmla="*/ 59532 h 61913"/>
                <a:gd name="connsiteX3" fmla="*/ 4762 w 79507"/>
                <a:gd name="connsiteY3" fmla="*/ 61913 h 61913"/>
                <a:gd name="connsiteX4" fmla="*/ 0 w 79507"/>
                <a:gd name="connsiteY4" fmla="*/ 0 h 61913"/>
                <a:gd name="connsiteX0" fmla="*/ 0 w 89872"/>
                <a:gd name="connsiteY0" fmla="*/ 0 h 61913"/>
                <a:gd name="connsiteX1" fmla="*/ 65045 w 89872"/>
                <a:gd name="connsiteY1" fmla="*/ 1 h 61913"/>
                <a:gd name="connsiteX2" fmla="*/ 67428 w 89872"/>
                <a:gd name="connsiteY2" fmla="*/ 59532 h 61913"/>
                <a:gd name="connsiteX3" fmla="*/ 4762 w 89872"/>
                <a:gd name="connsiteY3" fmla="*/ 61913 h 61913"/>
                <a:gd name="connsiteX4" fmla="*/ 0 w 89872"/>
                <a:gd name="connsiteY4" fmla="*/ 0 h 6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872" h="61913">
                  <a:moveTo>
                    <a:pt x="0" y="0"/>
                  </a:moveTo>
                  <a:lnTo>
                    <a:pt x="65045" y="1"/>
                  </a:lnTo>
                  <a:cubicBezTo>
                    <a:pt x="87792" y="9526"/>
                    <a:pt x="106050" y="56358"/>
                    <a:pt x="67428" y="59532"/>
                  </a:cubicBezTo>
                  <a:lnTo>
                    <a:pt x="4762" y="61913"/>
                  </a:lnTo>
                  <a:cubicBezTo>
                    <a:pt x="3968" y="42069"/>
                    <a:pt x="794" y="19844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8">
              <a:extLst>
                <a:ext uri="{FF2B5EF4-FFF2-40B4-BE49-F238E27FC236}">
                  <a16:creationId xmlns:a16="http://schemas.microsoft.com/office/drawing/2014/main" id="{F63F9E02-D40B-446D-B070-CD2955BE2F0C}"/>
                </a:ext>
              </a:extLst>
            </p:cNvPr>
            <p:cNvSpPr/>
            <p:nvPr/>
          </p:nvSpPr>
          <p:spPr>
            <a:xfrm flipH="1">
              <a:off x="2058634" y="1363343"/>
              <a:ext cx="271633" cy="174444"/>
            </a:xfrm>
            <a:custGeom>
              <a:avLst/>
              <a:gdLst>
                <a:gd name="connsiteX0" fmla="*/ 0 w 96002"/>
                <a:gd name="connsiteY0" fmla="*/ 0 h 59531"/>
                <a:gd name="connsiteX1" fmla="*/ 96002 w 96002"/>
                <a:gd name="connsiteY1" fmla="*/ 0 h 59531"/>
                <a:gd name="connsiteX2" fmla="*/ 96002 w 96002"/>
                <a:gd name="connsiteY2" fmla="*/ 59531 h 59531"/>
                <a:gd name="connsiteX3" fmla="*/ 0 w 96002"/>
                <a:gd name="connsiteY3" fmla="*/ 59531 h 59531"/>
                <a:gd name="connsiteX4" fmla="*/ 0 w 96002"/>
                <a:gd name="connsiteY4" fmla="*/ 0 h 59531"/>
                <a:gd name="connsiteX0" fmla="*/ 0 w 96002"/>
                <a:gd name="connsiteY0" fmla="*/ 2381 h 61912"/>
                <a:gd name="connsiteX1" fmla="*/ 67427 w 96002"/>
                <a:gd name="connsiteY1" fmla="*/ 0 h 61912"/>
                <a:gd name="connsiteX2" fmla="*/ 96002 w 96002"/>
                <a:gd name="connsiteY2" fmla="*/ 61912 h 61912"/>
                <a:gd name="connsiteX3" fmla="*/ 0 w 96002"/>
                <a:gd name="connsiteY3" fmla="*/ 61912 h 61912"/>
                <a:gd name="connsiteX4" fmla="*/ 0 w 96002"/>
                <a:gd name="connsiteY4" fmla="*/ 2381 h 61912"/>
                <a:gd name="connsiteX0" fmla="*/ 0 w 96002"/>
                <a:gd name="connsiteY0" fmla="*/ 0 h 59531"/>
                <a:gd name="connsiteX1" fmla="*/ 48377 w 96002"/>
                <a:gd name="connsiteY1" fmla="*/ 30957 h 59531"/>
                <a:gd name="connsiteX2" fmla="*/ 96002 w 96002"/>
                <a:gd name="connsiteY2" fmla="*/ 59531 h 59531"/>
                <a:gd name="connsiteX3" fmla="*/ 0 w 96002"/>
                <a:gd name="connsiteY3" fmla="*/ 59531 h 59531"/>
                <a:gd name="connsiteX4" fmla="*/ 0 w 96002"/>
                <a:gd name="connsiteY4" fmla="*/ 0 h 59531"/>
                <a:gd name="connsiteX0" fmla="*/ 0 w 96002"/>
                <a:gd name="connsiteY0" fmla="*/ 2381 h 61912"/>
                <a:gd name="connsiteX1" fmla="*/ 60283 w 96002"/>
                <a:gd name="connsiteY1" fmla="*/ 0 h 61912"/>
                <a:gd name="connsiteX2" fmla="*/ 96002 w 96002"/>
                <a:gd name="connsiteY2" fmla="*/ 61912 h 61912"/>
                <a:gd name="connsiteX3" fmla="*/ 0 w 96002"/>
                <a:gd name="connsiteY3" fmla="*/ 61912 h 61912"/>
                <a:gd name="connsiteX4" fmla="*/ 0 w 96002"/>
                <a:gd name="connsiteY4" fmla="*/ 2381 h 61912"/>
                <a:gd name="connsiteX0" fmla="*/ 0 w 60283"/>
                <a:gd name="connsiteY0" fmla="*/ 2381 h 61912"/>
                <a:gd name="connsiteX1" fmla="*/ 60283 w 60283"/>
                <a:gd name="connsiteY1" fmla="*/ 0 h 61912"/>
                <a:gd name="connsiteX2" fmla="*/ 31709 w 60283"/>
                <a:gd name="connsiteY2" fmla="*/ 42862 h 61912"/>
                <a:gd name="connsiteX3" fmla="*/ 0 w 60283"/>
                <a:gd name="connsiteY3" fmla="*/ 61912 h 61912"/>
                <a:gd name="connsiteX4" fmla="*/ 0 w 60283"/>
                <a:gd name="connsiteY4" fmla="*/ 2381 h 61912"/>
                <a:gd name="connsiteX0" fmla="*/ 0 w 79334"/>
                <a:gd name="connsiteY0" fmla="*/ 2381 h 61912"/>
                <a:gd name="connsiteX1" fmla="*/ 60283 w 79334"/>
                <a:gd name="connsiteY1" fmla="*/ 0 h 61912"/>
                <a:gd name="connsiteX2" fmla="*/ 79334 w 79334"/>
                <a:gd name="connsiteY2" fmla="*/ 59531 h 61912"/>
                <a:gd name="connsiteX3" fmla="*/ 0 w 79334"/>
                <a:gd name="connsiteY3" fmla="*/ 61912 h 61912"/>
                <a:gd name="connsiteX4" fmla="*/ 0 w 79334"/>
                <a:gd name="connsiteY4" fmla="*/ 2381 h 61912"/>
                <a:gd name="connsiteX0" fmla="*/ 0 w 82505"/>
                <a:gd name="connsiteY0" fmla="*/ 2381 h 61912"/>
                <a:gd name="connsiteX1" fmla="*/ 60283 w 82505"/>
                <a:gd name="connsiteY1" fmla="*/ 0 h 61912"/>
                <a:gd name="connsiteX2" fmla="*/ 79334 w 82505"/>
                <a:gd name="connsiteY2" fmla="*/ 59531 h 61912"/>
                <a:gd name="connsiteX3" fmla="*/ 0 w 82505"/>
                <a:gd name="connsiteY3" fmla="*/ 61912 h 61912"/>
                <a:gd name="connsiteX4" fmla="*/ 0 w 82505"/>
                <a:gd name="connsiteY4" fmla="*/ 2381 h 61912"/>
                <a:gd name="connsiteX0" fmla="*/ 0 w 83475"/>
                <a:gd name="connsiteY0" fmla="*/ 2381 h 61912"/>
                <a:gd name="connsiteX1" fmla="*/ 60283 w 83475"/>
                <a:gd name="connsiteY1" fmla="*/ 0 h 61912"/>
                <a:gd name="connsiteX2" fmla="*/ 79334 w 83475"/>
                <a:gd name="connsiteY2" fmla="*/ 59531 h 61912"/>
                <a:gd name="connsiteX3" fmla="*/ 0 w 83475"/>
                <a:gd name="connsiteY3" fmla="*/ 61912 h 61912"/>
                <a:gd name="connsiteX4" fmla="*/ 0 w 83475"/>
                <a:gd name="connsiteY4" fmla="*/ 2381 h 61912"/>
                <a:gd name="connsiteX0" fmla="*/ 0 w 85004"/>
                <a:gd name="connsiteY0" fmla="*/ 2381 h 61912"/>
                <a:gd name="connsiteX1" fmla="*/ 60283 w 85004"/>
                <a:gd name="connsiteY1" fmla="*/ 0 h 61912"/>
                <a:gd name="connsiteX2" fmla="*/ 79334 w 85004"/>
                <a:gd name="connsiteY2" fmla="*/ 59531 h 61912"/>
                <a:gd name="connsiteX3" fmla="*/ 0 w 85004"/>
                <a:gd name="connsiteY3" fmla="*/ 61912 h 61912"/>
                <a:gd name="connsiteX4" fmla="*/ 0 w 85004"/>
                <a:gd name="connsiteY4" fmla="*/ 2381 h 61912"/>
                <a:gd name="connsiteX0" fmla="*/ 0 w 87385"/>
                <a:gd name="connsiteY0" fmla="*/ 2381 h 61912"/>
                <a:gd name="connsiteX1" fmla="*/ 62664 w 87385"/>
                <a:gd name="connsiteY1" fmla="*/ 0 h 61912"/>
                <a:gd name="connsiteX2" fmla="*/ 81715 w 87385"/>
                <a:gd name="connsiteY2" fmla="*/ 59531 h 61912"/>
                <a:gd name="connsiteX3" fmla="*/ 2381 w 87385"/>
                <a:gd name="connsiteY3" fmla="*/ 61912 h 61912"/>
                <a:gd name="connsiteX4" fmla="*/ 0 w 87385"/>
                <a:gd name="connsiteY4" fmla="*/ 2381 h 61912"/>
                <a:gd name="connsiteX0" fmla="*/ 0 w 89766"/>
                <a:gd name="connsiteY0" fmla="*/ 0 h 61913"/>
                <a:gd name="connsiteX1" fmla="*/ 65045 w 89766"/>
                <a:gd name="connsiteY1" fmla="*/ 1 h 61913"/>
                <a:gd name="connsiteX2" fmla="*/ 84096 w 89766"/>
                <a:gd name="connsiteY2" fmla="*/ 59532 h 61913"/>
                <a:gd name="connsiteX3" fmla="*/ 4762 w 89766"/>
                <a:gd name="connsiteY3" fmla="*/ 61913 h 61913"/>
                <a:gd name="connsiteX4" fmla="*/ 0 w 89766"/>
                <a:gd name="connsiteY4" fmla="*/ 0 h 61913"/>
                <a:gd name="connsiteX0" fmla="*/ 0 w 89766"/>
                <a:gd name="connsiteY0" fmla="*/ 0 h 61913"/>
                <a:gd name="connsiteX1" fmla="*/ 65045 w 89766"/>
                <a:gd name="connsiteY1" fmla="*/ 1 h 61913"/>
                <a:gd name="connsiteX2" fmla="*/ 84096 w 89766"/>
                <a:gd name="connsiteY2" fmla="*/ 59532 h 61913"/>
                <a:gd name="connsiteX3" fmla="*/ 4762 w 89766"/>
                <a:gd name="connsiteY3" fmla="*/ 61913 h 61913"/>
                <a:gd name="connsiteX4" fmla="*/ 0 w 89766"/>
                <a:gd name="connsiteY4" fmla="*/ 0 h 61913"/>
                <a:gd name="connsiteX0" fmla="*/ 0 w 79507"/>
                <a:gd name="connsiteY0" fmla="*/ 0 h 61913"/>
                <a:gd name="connsiteX1" fmla="*/ 65045 w 79507"/>
                <a:gd name="connsiteY1" fmla="*/ 1 h 61913"/>
                <a:gd name="connsiteX2" fmla="*/ 67428 w 79507"/>
                <a:gd name="connsiteY2" fmla="*/ 59532 h 61913"/>
                <a:gd name="connsiteX3" fmla="*/ 4762 w 79507"/>
                <a:gd name="connsiteY3" fmla="*/ 61913 h 61913"/>
                <a:gd name="connsiteX4" fmla="*/ 0 w 79507"/>
                <a:gd name="connsiteY4" fmla="*/ 0 h 61913"/>
                <a:gd name="connsiteX0" fmla="*/ 0 w 89872"/>
                <a:gd name="connsiteY0" fmla="*/ 0 h 61913"/>
                <a:gd name="connsiteX1" fmla="*/ 65045 w 89872"/>
                <a:gd name="connsiteY1" fmla="*/ 1 h 61913"/>
                <a:gd name="connsiteX2" fmla="*/ 67428 w 89872"/>
                <a:gd name="connsiteY2" fmla="*/ 59532 h 61913"/>
                <a:gd name="connsiteX3" fmla="*/ 4762 w 89872"/>
                <a:gd name="connsiteY3" fmla="*/ 61913 h 61913"/>
                <a:gd name="connsiteX4" fmla="*/ 0 w 89872"/>
                <a:gd name="connsiteY4" fmla="*/ 0 h 6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872" h="61913">
                  <a:moveTo>
                    <a:pt x="0" y="0"/>
                  </a:moveTo>
                  <a:lnTo>
                    <a:pt x="65045" y="1"/>
                  </a:lnTo>
                  <a:cubicBezTo>
                    <a:pt x="87792" y="9526"/>
                    <a:pt x="106050" y="56358"/>
                    <a:pt x="67428" y="59532"/>
                  </a:cubicBezTo>
                  <a:lnTo>
                    <a:pt x="4762" y="61913"/>
                  </a:lnTo>
                  <a:cubicBezTo>
                    <a:pt x="3968" y="42069"/>
                    <a:pt x="794" y="19844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12">
              <a:extLst>
                <a:ext uri="{FF2B5EF4-FFF2-40B4-BE49-F238E27FC236}">
                  <a16:creationId xmlns:a16="http://schemas.microsoft.com/office/drawing/2014/main" id="{B5729470-092D-4E19-8400-0A4331D5D28B}"/>
                </a:ext>
              </a:extLst>
            </p:cNvPr>
            <p:cNvSpPr/>
            <p:nvPr/>
          </p:nvSpPr>
          <p:spPr>
            <a:xfrm>
              <a:off x="2959588" y="1150710"/>
              <a:ext cx="554187" cy="294889"/>
            </a:xfrm>
            <a:custGeom>
              <a:avLst/>
              <a:gdLst>
                <a:gd name="connsiteX0" fmla="*/ 0 w 357188"/>
                <a:gd name="connsiteY0" fmla="*/ 0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0 w 357188"/>
                <a:gd name="connsiteY4" fmla="*/ 0 h 111919"/>
                <a:gd name="connsiteX0" fmla="*/ 114300 w 357188"/>
                <a:gd name="connsiteY0" fmla="*/ 40481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114300 w 357188"/>
                <a:gd name="connsiteY4" fmla="*/ 40481 h 111919"/>
                <a:gd name="connsiteX0" fmla="*/ 42862 w 357188"/>
                <a:gd name="connsiteY0" fmla="*/ 16668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42862 w 357188"/>
                <a:gd name="connsiteY4" fmla="*/ 16668 h 111919"/>
                <a:gd name="connsiteX0" fmla="*/ 42862 w 357188"/>
                <a:gd name="connsiteY0" fmla="*/ 0 h 95251"/>
                <a:gd name="connsiteX1" fmla="*/ 221457 w 357188"/>
                <a:gd name="connsiteY1" fmla="*/ 40482 h 95251"/>
                <a:gd name="connsiteX2" fmla="*/ 357188 w 357188"/>
                <a:gd name="connsiteY2" fmla="*/ 95251 h 95251"/>
                <a:gd name="connsiteX3" fmla="*/ 0 w 357188"/>
                <a:gd name="connsiteY3" fmla="*/ 95251 h 95251"/>
                <a:gd name="connsiteX4" fmla="*/ 42862 w 357188"/>
                <a:gd name="connsiteY4" fmla="*/ 0 h 95251"/>
                <a:gd name="connsiteX0" fmla="*/ 42862 w 357188"/>
                <a:gd name="connsiteY0" fmla="*/ 2381 h 97632"/>
                <a:gd name="connsiteX1" fmla="*/ 297657 w 357188"/>
                <a:gd name="connsiteY1" fmla="*/ 0 h 97632"/>
                <a:gd name="connsiteX2" fmla="*/ 357188 w 357188"/>
                <a:gd name="connsiteY2" fmla="*/ 97632 h 97632"/>
                <a:gd name="connsiteX3" fmla="*/ 0 w 357188"/>
                <a:gd name="connsiteY3" fmla="*/ 97632 h 97632"/>
                <a:gd name="connsiteX4" fmla="*/ 42862 w 357188"/>
                <a:gd name="connsiteY4" fmla="*/ 2381 h 97632"/>
                <a:gd name="connsiteX0" fmla="*/ 42862 w 376290"/>
                <a:gd name="connsiteY0" fmla="*/ 13301 h 108552"/>
                <a:gd name="connsiteX1" fmla="*/ 297657 w 376290"/>
                <a:gd name="connsiteY1" fmla="*/ 10920 h 108552"/>
                <a:gd name="connsiteX2" fmla="*/ 357188 w 376290"/>
                <a:gd name="connsiteY2" fmla="*/ 108552 h 108552"/>
                <a:gd name="connsiteX3" fmla="*/ 0 w 376290"/>
                <a:gd name="connsiteY3" fmla="*/ 108552 h 108552"/>
                <a:gd name="connsiteX4" fmla="*/ 42862 w 376290"/>
                <a:gd name="connsiteY4" fmla="*/ 13301 h 108552"/>
                <a:gd name="connsiteX0" fmla="*/ 66127 w 399555"/>
                <a:gd name="connsiteY0" fmla="*/ 13301 h 108552"/>
                <a:gd name="connsiteX1" fmla="*/ 320922 w 399555"/>
                <a:gd name="connsiteY1" fmla="*/ 10920 h 108552"/>
                <a:gd name="connsiteX2" fmla="*/ 380453 w 399555"/>
                <a:gd name="connsiteY2" fmla="*/ 108552 h 108552"/>
                <a:gd name="connsiteX3" fmla="*/ 23265 w 399555"/>
                <a:gd name="connsiteY3" fmla="*/ 108552 h 108552"/>
                <a:gd name="connsiteX4" fmla="*/ 66127 w 399555"/>
                <a:gd name="connsiteY4" fmla="*/ 13301 h 108552"/>
                <a:gd name="connsiteX0" fmla="*/ 60252 w 393680"/>
                <a:gd name="connsiteY0" fmla="*/ 9797 h 105048"/>
                <a:gd name="connsiteX1" fmla="*/ 315047 w 393680"/>
                <a:gd name="connsiteY1" fmla="*/ 7416 h 105048"/>
                <a:gd name="connsiteX2" fmla="*/ 374578 w 393680"/>
                <a:gd name="connsiteY2" fmla="*/ 105048 h 105048"/>
                <a:gd name="connsiteX3" fmla="*/ 17390 w 393680"/>
                <a:gd name="connsiteY3" fmla="*/ 105048 h 105048"/>
                <a:gd name="connsiteX4" fmla="*/ 60252 w 393680"/>
                <a:gd name="connsiteY4" fmla="*/ 9797 h 105048"/>
                <a:gd name="connsiteX0" fmla="*/ 100738 w 387763"/>
                <a:gd name="connsiteY0" fmla="*/ 28724 h 100163"/>
                <a:gd name="connsiteX1" fmla="*/ 310290 w 387763"/>
                <a:gd name="connsiteY1" fmla="*/ 2531 h 100163"/>
                <a:gd name="connsiteX2" fmla="*/ 369821 w 387763"/>
                <a:gd name="connsiteY2" fmla="*/ 100163 h 100163"/>
                <a:gd name="connsiteX3" fmla="*/ 12633 w 387763"/>
                <a:gd name="connsiteY3" fmla="*/ 100163 h 100163"/>
                <a:gd name="connsiteX4" fmla="*/ 100738 w 387763"/>
                <a:gd name="connsiteY4" fmla="*/ 28724 h 100163"/>
                <a:gd name="connsiteX0" fmla="*/ 88105 w 375130"/>
                <a:gd name="connsiteY0" fmla="*/ 28724 h 100163"/>
                <a:gd name="connsiteX1" fmla="*/ 297657 w 375130"/>
                <a:gd name="connsiteY1" fmla="*/ 2531 h 100163"/>
                <a:gd name="connsiteX2" fmla="*/ 357188 w 375130"/>
                <a:gd name="connsiteY2" fmla="*/ 100163 h 100163"/>
                <a:gd name="connsiteX3" fmla="*/ 0 w 375130"/>
                <a:gd name="connsiteY3" fmla="*/ 100163 h 100163"/>
                <a:gd name="connsiteX4" fmla="*/ 88105 w 375130"/>
                <a:gd name="connsiteY4" fmla="*/ 28724 h 100163"/>
                <a:gd name="connsiteX0" fmla="*/ 50005 w 376099"/>
                <a:gd name="connsiteY0" fmla="*/ 13086 h 103575"/>
                <a:gd name="connsiteX1" fmla="*/ 297657 w 376099"/>
                <a:gd name="connsiteY1" fmla="*/ 5943 h 103575"/>
                <a:gd name="connsiteX2" fmla="*/ 357188 w 376099"/>
                <a:gd name="connsiteY2" fmla="*/ 103575 h 103575"/>
                <a:gd name="connsiteX3" fmla="*/ 0 w 376099"/>
                <a:gd name="connsiteY3" fmla="*/ 103575 h 103575"/>
                <a:gd name="connsiteX4" fmla="*/ 50005 w 376099"/>
                <a:gd name="connsiteY4" fmla="*/ 13086 h 103575"/>
                <a:gd name="connsiteX0" fmla="*/ 50005 w 357188"/>
                <a:gd name="connsiteY0" fmla="*/ 13086 h 103575"/>
                <a:gd name="connsiteX1" fmla="*/ 297657 w 357188"/>
                <a:gd name="connsiteY1" fmla="*/ 5943 h 103575"/>
                <a:gd name="connsiteX2" fmla="*/ 357188 w 357188"/>
                <a:gd name="connsiteY2" fmla="*/ 103575 h 103575"/>
                <a:gd name="connsiteX3" fmla="*/ 0 w 357188"/>
                <a:gd name="connsiteY3" fmla="*/ 103575 h 103575"/>
                <a:gd name="connsiteX4" fmla="*/ 50005 w 357188"/>
                <a:gd name="connsiteY4" fmla="*/ 13086 h 103575"/>
                <a:gd name="connsiteX0" fmla="*/ 50005 w 357188"/>
                <a:gd name="connsiteY0" fmla="*/ 12047 h 102536"/>
                <a:gd name="connsiteX1" fmla="*/ 297657 w 357188"/>
                <a:gd name="connsiteY1" fmla="*/ 4904 h 102536"/>
                <a:gd name="connsiteX2" fmla="*/ 357188 w 357188"/>
                <a:gd name="connsiteY2" fmla="*/ 102536 h 102536"/>
                <a:gd name="connsiteX3" fmla="*/ 0 w 357188"/>
                <a:gd name="connsiteY3" fmla="*/ 102536 h 102536"/>
                <a:gd name="connsiteX4" fmla="*/ 50005 w 357188"/>
                <a:gd name="connsiteY4" fmla="*/ 12047 h 102536"/>
                <a:gd name="connsiteX0" fmla="*/ 50005 w 357188"/>
                <a:gd name="connsiteY0" fmla="*/ 12047 h 102536"/>
                <a:gd name="connsiteX1" fmla="*/ 297657 w 357188"/>
                <a:gd name="connsiteY1" fmla="*/ 4904 h 102536"/>
                <a:gd name="connsiteX2" fmla="*/ 357188 w 357188"/>
                <a:gd name="connsiteY2" fmla="*/ 102536 h 102536"/>
                <a:gd name="connsiteX3" fmla="*/ 0 w 357188"/>
                <a:gd name="connsiteY3" fmla="*/ 102536 h 102536"/>
                <a:gd name="connsiteX4" fmla="*/ 50005 w 357188"/>
                <a:gd name="connsiteY4" fmla="*/ 12047 h 102536"/>
                <a:gd name="connsiteX0" fmla="*/ 50005 w 357188"/>
                <a:gd name="connsiteY0" fmla="*/ 7197 h 97686"/>
                <a:gd name="connsiteX1" fmla="*/ 269082 w 357188"/>
                <a:gd name="connsiteY1" fmla="*/ 14341 h 97686"/>
                <a:gd name="connsiteX2" fmla="*/ 357188 w 357188"/>
                <a:gd name="connsiteY2" fmla="*/ 97686 h 97686"/>
                <a:gd name="connsiteX3" fmla="*/ 0 w 357188"/>
                <a:gd name="connsiteY3" fmla="*/ 97686 h 97686"/>
                <a:gd name="connsiteX4" fmla="*/ 50005 w 357188"/>
                <a:gd name="connsiteY4" fmla="*/ 7197 h 97686"/>
                <a:gd name="connsiteX0" fmla="*/ 50005 w 357188"/>
                <a:gd name="connsiteY0" fmla="*/ 11770 h 102259"/>
                <a:gd name="connsiteX1" fmla="*/ 295276 w 357188"/>
                <a:gd name="connsiteY1" fmla="*/ 9389 h 102259"/>
                <a:gd name="connsiteX2" fmla="*/ 357188 w 357188"/>
                <a:gd name="connsiteY2" fmla="*/ 102259 h 102259"/>
                <a:gd name="connsiteX3" fmla="*/ 0 w 357188"/>
                <a:gd name="connsiteY3" fmla="*/ 102259 h 102259"/>
                <a:gd name="connsiteX4" fmla="*/ 50005 w 357188"/>
                <a:gd name="connsiteY4" fmla="*/ 11770 h 102259"/>
                <a:gd name="connsiteX0" fmla="*/ 50005 w 357188"/>
                <a:gd name="connsiteY0" fmla="*/ 9430 h 99919"/>
                <a:gd name="connsiteX1" fmla="*/ 295276 w 357188"/>
                <a:gd name="connsiteY1" fmla="*/ 7049 h 99919"/>
                <a:gd name="connsiteX2" fmla="*/ 357188 w 357188"/>
                <a:gd name="connsiteY2" fmla="*/ 99919 h 99919"/>
                <a:gd name="connsiteX3" fmla="*/ 0 w 357188"/>
                <a:gd name="connsiteY3" fmla="*/ 99919 h 99919"/>
                <a:gd name="connsiteX4" fmla="*/ 50005 w 357188"/>
                <a:gd name="connsiteY4" fmla="*/ 9430 h 99919"/>
                <a:gd name="connsiteX0" fmla="*/ 50005 w 357188"/>
                <a:gd name="connsiteY0" fmla="*/ 12324 h 102813"/>
                <a:gd name="connsiteX1" fmla="*/ 173831 w 357188"/>
                <a:gd name="connsiteY1" fmla="*/ 2893 h 102813"/>
                <a:gd name="connsiteX2" fmla="*/ 295276 w 357188"/>
                <a:gd name="connsiteY2" fmla="*/ 9943 h 102813"/>
                <a:gd name="connsiteX3" fmla="*/ 357188 w 357188"/>
                <a:gd name="connsiteY3" fmla="*/ 102813 h 102813"/>
                <a:gd name="connsiteX4" fmla="*/ 0 w 357188"/>
                <a:gd name="connsiteY4" fmla="*/ 102813 h 102813"/>
                <a:gd name="connsiteX5" fmla="*/ 50005 w 357188"/>
                <a:gd name="connsiteY5" fmla="*/ 12324 h 102813"/>
                <a:gd name="connsiteX0" fmla="*/ 50005 w 362306"/>
                <a:gd name="connsiteY0" fmla="*/ 12324 h 102813"/>
                <a:gd name="connsiteX1" fmla="*/ 173831 w 362306"/>
                <a:gd name="connsiteY1" fmla="*/ 2893 h 102813"/>
                <a:gd name="connsiteX2" fmla="*/ 295276 w 362306"/>
                <a:gd name="connsiteY2" fmla="*/ 9943 h 102813"/>
                <a:gd name="connsiteX3" fmla="*/ 357188 w 362306"/>
                <a:gd name="connsiteY3" fmla="*/ 102813 h 102813"/>
                <a:gd name="connsiteX4" fmla="*/ 164306 w 362306"/>
                <a:gd name="connsiteY4" fmla="*/ 100649 h 102813"/>
                <a:gd name="connsiteX5" fmla="*/ 0 w 362306"/>
                <a:gd name="connsiteY5" fmla="*/ 102813 h 102813"/>
                <a:gd name="connsiteX6" fmla="*/ 50005 w 362306"/>
                <a:gd name="connsiteY6" fmla="*/ 12324 h 102813"/>
                <a:gd name="connsiteX0" fmla="*/ 50005 w 362306"/>
                <a:gd name="connsiteY0" fmla="*/ 12324 h 102813"/>
                <a:gd name="connsiteX1" fmla="*/ 173831 w 362306"/>
                <a:gd name="connsiteY1" fmla="*/ 2893 h 102813"/>
                <a:gd name="connsiteX2" fmla="*/ 295276 w 362306"/>
                <a:gd name="connsiteY2" fmla="*/ 9943 h 102813"/>
                <a:gd name="connsiteX3" fmla="*/ 357188 w 362306"/>
                <a:gd name="connsiteY3" fmla="*/ 102813 h 102813"/>
                <a:gd name="connsiteX4" fmla="*/ 178593 w 362306"/>
                <a:gd name="connsiteY4" fmla="*/ 98376 h 102813"/>
                <a:gd name="connsiteX5" fmla="*/ 0 w 362306"/>
                <a:gd name="connsiteY5" fmla="*/ 102813 h 102813"/>
                <a:gd name="connsiteX6" fmla="*/ 50005 w 362306"/>
                <a:gd name="connsiteY6" fmla="*/ 12324 h 102813"/>
                <a:gd name="connsiteX0" fmla="*/ 3 w 362309"/>
                <a:gd name="connsiteY0" fmla="*/ 108921 h 108921"/>
                <a:gd name="connsiteX1" fmla="*/ 173834 w 362309"/>
                <a:gd name="connsiteY1" fmla="*/ 9001 h 108921"/>
                <a:gd name="connsiteX2" fmla="*/ 295279 w 362309"/>
                <a:gd name="connsiteY2" fmla="*/ 16051 h 108921"/>
                <a:gd name="connsiteX3" fmla="*/ 357191 w 362309"/>
                <a:gd name="connsiteY3" fmla="*/ 108921 h 108921"/>
                <a:gd name="connsiteX4" fmla="*/ 178596 w 362309"/>
                <a:gd name="connsiteY4" fmla="*/ 104484 h 108921"/>
                <a:gd name="connsiteX5" fmla="*/ 3 w 362309"/>
                <a:gd name="connsiteY5" fmla="*/ 108921 h 108921"/>
                <a:gd name="connsiteX0" fmla="*/ 4762 w 188475"/>
                <a:gd name="connsiteY0" fmla="*/ 104484 h 108921"/>
                <a:gd name="connsiteX1" fmla="*/ 0 w 188475"/>
                <a:gd name="connsiteY1" fmla="*/ 9001 h 108921"/>
                <a:gd name="connsiteX2" fmla="*/ 121445 w 188475"/>
                <a:gd name="connsiteY2" fmla="*/ 16051 h 108921"/>
                <a:gd name="connsiteX3" fmla="*/ 183357 w 188475"/>
                <a:gd name="connsiteY3" fmla="*/ 108921 h 108921"/>
                <a:gd name="connsiteX4" fmla="*/ 4762 w 188475"/>
                <a:gd name="connsiteY4" fmla="*/ 104484 h 108921"/>
                <a:gd name="connsiteX0" fmla="*/ 0 w 188475"/>
                <a:gd name="connsiteY0" fmla="*/ 106757 h 108921"/>
                <a:gd name="connsiteX1" fmla="*/ 0 w 188475"/>
                <a:gd name="connsiteY1" fmla="*/ 9001 h 108921"/>
                <a:gd name="connsiteX2" fmla="*/ 121445 w 188475"/>
                <a:gd name="connsiteY2" fmla="*/ 16051 h 108921"/>
                <a:gd name="connsiteX3" fmla="*/ 183357 w 188475"/>
                <a:gd name="connsiteY3" fmla="*/ 108921 h 108921"/>
                <a:gd name="connsiteX4" fmla="*/ 0 w 188475"/>
                <a:gd name="connsiteY4" fmla="*/ 106757 h 108921"/>
                <a:gd name="connsiteX0" fmla="*/ 0 w 188475"/>
                <a:gd name="connsiteY0" fmla="*/ 99620 h 101784"/>
                <a:gd name="connsiteX1" fmla="*/ 0 w 188475"/>
                <a:gd name="connsiteY1" fmla="*/ 1864 h 101784"/>
                <a:gd name="connsiteX2" fmla="*/ 121445 w 188475"/>
                <a:gd name="connsiteY2" fmla="*/ 8914 h 101784"/>
                <a:gd name="connsiteX3" fmla="*/ 183357 w 188475"/>
                <a:gd name="connsiteY3" fmla="*/ 101784 h 101784"/>
                <a:gd name="connsiteX4" fmla="*/ 0 w 188475"/>
                <a:gd name="connsiteY4" fmla="*/ 99620 h 101784"/>
                <a:gd name="connsiteX0" fmla="*/ 0 w 189246"/>
                <a:gd name="connsiteY0" fmla="*/ 97756 h 99920"/>
                <a:gd name="connsiteX1" fmla="*/ 0 w 189246"/>
                <a:gd name="connsiteY1" fmla="*/ 0 h 99920"/>
                <a:gd name="connsiteX2" fmla="*/ 130970 w 189246"/>
                <a:gd name="connsiteY2" fmla="*/ 20690 h 99920"/>
                <a:gd name="connsiteX3" fmla="*/ 183357 w 189246"/>
                <a:gd name="connsiteY3" fmla="*/ 99920 h 99920"/>
                <a:gd name="connsiteX4" fmla="*/ 0 w 189246"/>
                <a:gd name="connsiteY4" fmla="*/ 97756 h 99920"/>
                <a:gd name="connsiteX0" fmla="*/ 0 w 188516"/>
                <a:gd name="connsiteY0" fmla="*/ 97756 h 99920"/>
                <a:gd name="connsiteX1" fmla="*/ 0 w 188516"/>
                <a:gd name="connsiteY1" fmla="*/ 0 h 99920"/>
                <a:gd name="connsiteX2" fmla="*/ 130970 w 188516"/>
                <a:gd name="connsiteY2" fmla="*/ 20690 h 99920"/>
                <a:gd name="connsiteX3" fmla="*/ 183357 w 188516"/>
                <a:gd name="connsiteY3" fmla="*/ 99920 h 99920"/>
                <a:gd name="connsiteX4" fmla="*/ 0 w 188516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30970 w 183357"/>
                <a:gd name="connsiteY2" fmla="*/ 2069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28589 w 183357"/>
                <a:gd name="connsiteY2" fmla="*/ 1387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28589 w 183357"/>
                <a:gd name="connsiteY2" fmla="*/ 1387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357" h="99920">
                  <a:moveTo>
                    <a:pt x="0" y="97756"/>
                  </a:moveTo>
                  <a:lnTo>
                    <a:pt x="0" y="0"/>
                  </a:lnTo>
                  <a:cubicBezTo>
                    <a:pt x="53975" y="2709"/>
                    <a:pt x="107554" y="-5056"/>
                    <a:pt x="128589" y="13870"/>
                  </a:cubicBezTo>
                  <a:cubicBezTo>
                    <a:pt x="149624" y="32796"/>
                    <a:pt x="164704" y="55249"/>
                    <a:pt x="183357" y="99920"/>
                  </a:cubicBezTo>
                  <a:lnTo>
                    <a:pt x="0" y="977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12">
              <a:extLst>
                <a:ext uri="{FF2B5EF4-FFF2-40B4-BE49-F238E27FC236}">
                  <a16:creationId xmlns:a16="http://schemas.microsoft.com/office/drawing/2014/main" id="{B9A7430B-84B7-43B7-866A-3B2BBAD5426A}"/>
                </a:ext>
              </a:extLst>
            </p:cNvPr>
            <p:cNvSpPr/>
            <p:nvPr/>
          </p:nvSpPr>
          <p:spPr>
            <a:xfrm flipH="1">
              <a:off x="2405406" y="1150708"/>
              <a:ext cx="554187" cy="294889"/>
            </a:xfrm>
            <a:custGeom>
              <a:avLst/>
              <a:gdLst>
                <a:gd name="connsiteX0" fmla="*/ 0 w 357188"/>
                <a:gd name="connsiteY0" fmla="*/ 0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0 w 357188"/>
                <a:gd name="connsiteY4" fmla="*/ 0 h 111919"/>
                <a:gd name="connsiteX0" fmla="*/ 114300 w 357188"/>
                <a:gd name="connsiteY0" fmla="*/ 40481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114300 w 357188"/>
                <a:gd name="connsiteY4" fmla="*/ 40481 h 111919"/>
                <a:gd name="connsiteX0" fmla="*/ 42862 w 357188"/>
                <a:gd name="connsiteY0" fmla="*/ 16668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42862 w 357188"/>
                <a:gd name="connsiteY4" fmla="*/ 16668 h 111919"/>
                <a:gd name="connsiteX0" fmla="*/ 42862 w 357188"/>
                <a:gd name="connsiteY0" fmla="*/ 0 h 95251"/>
                <a:gd name="connsiteX1" fmla="*/ 221457 w 357188"/>
                <a:gd name="connsiteY1" fmla="*/ 40482 h 95251"/>
                <a:gd name="connsiteX2" fmla="*/ 357188 w 357188"/>
                <a:gd name="connsiteY2" fmla="*/ 95251 h 95251"/>
                <a:gd name="connsiteX3" fmla="*/ 0 w 357188"/>
                <a:gd name="connsiteY3" fmla="*/ 95251 h 95251"/>
                <a:gd name="connsiteX4" fmla="*/ 42862 w 357188"/>
                <a:gd name="connsiteY4" fmla="*/ 0 h 95251"/>
                <a:gd name="connsiteX0" fmla="*/ 42862 w 357188"/>
                <a:gd name="connsiteY0" fmla="*/ 2381 h 97632"/>
                <a:gd name="connsiteX1" fmla="*/ 297657 w 357188"/>
                <a:gd name="connsiteY1" fmla="*/ 0 h 97632"/>
                <a:gd name="connsiteX2" fmla="*/ 357188 w 357188"/>
                <a:gd name="connsiteY2" fmla="*/ 97632 h 97632"/>
                <a:gd name="connsiteX3" fmla="*/ 0 w 357188"/>
                <a:gd name="connsiteY3" fmla="*/ 97632 h 97632"/>
                <a:gd name="connsiteX4" fmla="*/ 42862 w 357188"/>
                <a:gd name="connsiteY4" fmla="*/ 2381 h 97632"/>
                <a:gd name="connsiteX0" fmla="*/ 42862 w 376290"/>
                <a:gd name="connsiteY0" fmla="*/ 13301 h 108552"/>
                <a:gd name="connsiteX1" fmla="*/ 297657 w 376290"/>
                <a:gd name="connsiteY1" fmla="*/ 10920 h 108552"/>
                <a:gd name="connsiteX2" fmla="*/ 357188 w 376290"/>
                <a:gd name="connsiteY2" fmla="*/ 108552 h 108552"/>
                <a:gd name="connsiteX3" fmla="*/ 0 w 376290"/>
                <a:gd name="connsiteY3" fmla="*/ 108552 h 108552"/>
                <a:gd name="connsiteX4" fmla="*/ 42862 w 376290"/>
                <a:gd name="connsiteY4" fmla="*/ 13301 h 108552"/>
                <a:gd name="connsiteX0" fmla="*/ 66127 w 399555"/>
                <a:gd name="connsiteY0" fmla="*/ 13301 h 108552"/>
                <a:gd name="connsiteX1" fmla="*/ 320922 w 399555"/>
                <a:gd name="connsiteY1" fmla="*/ 10920 h 108552"/>
                <a:gd name="connsiteX2" fmla="*/ 380453 w 399555"/>
                <a:gd name="connsiteY2" fmla="*/ 108552 h 108552"/>
                <a:gd name="connsiteX3" fmla="*/ 23265 w 399555"/>
                <a:gd name="connsiteY3" fmla="*/ 108552 h 108552"/>
                <a:gd name="connsiteX4" fmla="*/ 66127 w 399555"/>
                <a:gd name="connsiteY4" fmla="*/ 13301 h 108552"/>
                <a:gd name="connsiteX0" fmla="*/ 60252 w 393680"/>
                <a:gd name="connsiteY0" fmla="*/ 9797 h 105048"/>
                <a:gd name="connsiteX1" fmla="*/ 315047 w 393680"/>
                <a:gd name="connsiteY1" fmla="*/ 7416 h 105048"/>
                <a:gd name="connsiteX2" fmla="*/ 374578 w 393680"/>
                <a:gd name="connsiteY2" fmla="*/ 105048 h 105048"/>
                <a:gd name="connsiteX3" fmla="*/ 17390 w 393680"/>
                <a:gd name="connsiteY3" fmla="*/ 105048 h 105048"/>
                <a:gd name="connsiteX4" fmla="*/ 60252 w 393680"/>
                <a:gd name="connsiteY4" fmla="*/ 9797 h 105048"/>
                <a:gd name="connsiteX0" fmla="*/ 100738 w 387763"/>
                <a:gd name="connsiteY0" fmla="*/ 28724 h 100163"/>
                <a:gd name="connsiteX1" fmla="*/ 310290 w 387763"/>
                <a:gd name="connsiteY1" fmla="*/ 2531 h 100163"/>
                <a:gd name="connsiteX2" fmla="*/ 369821 w 387763"/>
                <a:gd name="connsiteY2" fmla="*/ 100163 h 100163"/>
                <a:gd name="connsiteX3" fmla="*/ 12633 w 387763"/>
                <a:gd name="connsiteY3" fmla="*/ 100163 h 100163"/>
                <a:gd name="connsiteX4" fmla="*/ 100738 w 387763"/>
                <a:gd name="connsiteY4" fmla="*/ 28724 h 100163"/>
                <a:gd name="connsiteX0" fmla="*/ 88105 w 375130"/>
                <a:gd name="connsiteY0" fmla="*/ 28724 h 100163"/>
                <a:gd name="connsiteX1" fmla="*/ 297657 w 375130"/>
                <a:gd name="connsiteY1" fmla="*/ 2531 h 100163"/>
                <a:gd name="connsiteX2" fmla="*/ 357188 w 375130"/>
                <a:gd name="connsiteY2" fmla="*/ 100163 h 100163"/>
                <a:gd name="connsiteX3" fmla="*/ 0 w 375130"/>
                <a:gd name="connsiteY3" fmla="*/ 100163 h 100163"/>
                <a:gd name="connsiteX4" fmla="*/ 88105 w 375130"/>
                <a:gd name="connsiteY4" fmla="*/ 28724 h 100163"/>
                <a:gd name="connsiteX0" fmla="*/ 50005 w 376099"/>
                <a:gd name="connsiteY0" fmla="*/ 13086 h 103575"/>
                <a:gd name="connsiteX1" fmla="*/ 297657 w 376099"/>
                <a:gd name="connsiteY1" fmla="*/ 5943 h 103575"/>
                <a:gd name="connsiteX2" fmla="*/ 357188 w 376099"/>
                <a:gd name="connsiteY2" fmla="*/ 103575 h 103575"/>
                <a:gd name="connsiteX3" fmla="*/ 0 w 376099"/>
                <a:gd name="connsiteY3" fmla="*/ 103575 h 103575"/>
                <a:gd name="connsiteX4" fmla="*/ 50005 w 376099"/>
                <a:gd name="connsiteY4" fmla="*/ 13086 h 103575"/>
                <a:gd name="connsiteX0" fmla="*/ 50005 w 357188"/>
                <a:gd name="connsiteY0" fmla="*/ 13086 h 103575"/>
                <a:gd name="connsiteX1" fmla="*/ 297657 w 357188"/>
                <a:gd name="connsiteY1" fmla="*/ 5943 h 103575"/>
                <a:gd name="connsiteX2" fmla="*/ 357188 w 357188"/>
                <a:gd name="connsiteY2" fmla="*/ 103575 h 103575"/>
                <a:gd name="connsiteX3" fmla="*/ 0 w 357188"/>
                <a:gd name="connsiteY3" fmla="*/ 103575 h 103575"/>
                <a:gd name="connsiteX4" fmla="*/ 50005 w 357188"/>
                <a:gd name="connsiteY4" fmla="*/ 13086 h 103575"/>
                <a:gd name="connsiteX0" fmla="*/ 50005 w 357188"/>
                <a:gd name="connsiteY0" fmla="*/ 12047 h 102536"/>
                <a:gd name="connsiteX1" fmla="*/ 297657 w 357188"/>
                <a:gd name="connsiteY1" fmla="*/ 4904 h 102536"/>
                <a:gd name="connsiteX2" fmla="*/ 357188 w 357188"/>
                <a:gd name="connsiteY2" fmla="*/ 102536 h 102536"/>
                <a:gd name="connsiteX3" fmla="*/ 0 w 357188"/>
                <a:gd name="connsiteY3" fmla="*/ 102536 h 102536"/>
                <a:gd name="connsiteX4" fmla="*/ 50005 w 357188"/>
                <a:gd name="connsiteY4" fmla="*/ 12047 h 102536"/>
                <a:gd name="connsiteX0" fmla="*/ 50005 w 357188"/>
                <a:gd name="connsiteY0" fmla="*/ 12047 h 102536"/>
                <a:gd name="connsiteX1" fmla="*/ 297657 w 357188"/>
                <a:gd name="connsiteY1" fmla="*/ 4904 h 102536"/>
                <a:gd name="connsiteX2" fmla="*/ 357188 w 357188"/>
                <a:gd name="connsiteY2" fmla="*/ 102536 h 102536"/>
                <a:gd name="connsiteX3" fmla="*/ 0 w 357188"/>
                <a:gd name="connsiteY3" fmla="*/ 102536 h 102536"/>
                <a:gd name="connsiteX4" fmla="*/ 50005 w 357188"/>
                <a:gd name="connsiteY4" fmla="*/ 12047 h 102536"/>
                <a:gd name="connsiteX0" fmla="*/ 50005 w 357188"/>
                <a:gd name="connsiteY0" fmla="*/ 7197 h 97686"/>
                <a:gd name="connsiteX1" fmla="*/ 269082 w 357188"/>
                <a:gd name="connsiteY1" fmla="*/ 14341 h 97686"/>
                <a:gd name="connsiteX2" fmla="*/ 357188 w 357188"/>
                <a:gd name="connsiteY2" fmla="*/ 97686 h 97686"/>
                <a:gd name="connsiteX3" fmla="*/ 0 w 357188"/>
                <a:gd name="connsiteY3" fmla="*/ 97686 h 97686"/>
                <a:gd name="connsiteX4" fmla="*/ 50005 w 357188"/>
                <a:gd name="connsiteY4" fmla="*/ 7197 h 97686"/>
                <a:gd name="connsiteX0" fmla="*/ 50005 w 357188"/>
                <a:gd name="connsiteY0" fmla="*/ 11770 h 102259"/>
                <a:gd name="connsiteX1" fmla="*/ 295276 w 357188"/>
                <a:gd name="connsiteY1" fmla="*/ 9389 h 102259"/>
                <a:gd name="connsiteX2" fmla="*/ 357188 w 357188"/>
                <a:gd name="connsiteY2" fmla="*/ 102259 h 102259"/>
                <a:gd name="connsiteX3" fmla="*/ 0 w 357188"/>
                <a:gd name="connsiteY3" fmla="*/ 102259 h 102259"/>
                <a:gd name="connsiteX4" fmla="*/ 50005 w 357188"/>
                <a:gd name="connsiteY4" fmla="*/ 11770 h 102259"/>
                <a:gd name="connsiteX0" fmla="*/ 50005 w 357188"/>
                <a:gd name="connsiteY0" fmla="*/ 9430 h 99919"/>
                <a:gd name="connsiteX1" fmla="*/ 295276 w 357188"/>
                <a:gd name="connsiteY1" fmla="*/ 7049 h 99919"/>
                <a:gd name="connsiteX2" fmla="*/ 357188 w 357188"/>
                <a:gd name="connsiteY2" fmla="*/ 99919 h 99919"/>
                <a:gd name="connsiteX3" fmla="*/ 0 w 357188"/>
                <a:gd name="connsiteY3" fmla="*/ 99919 h 99919"/>
                <a:gd name="connsiteX4" fmla="*/ 50005 w 357188"/>
                <a:gd name="connsiteY4" fmla="*/ 9430 h 99919"/>
                <a:gd name="connsiteX0" fmla="*/ 50005 w 357188"/>
                <a:gd name="connsiteY0" fmla="*/ 12324 h 102813"/>
                <a:gd name="connsiteX1" fmla="*/ 173831 w 357188"/>
                <a:gd name="connsiteY1" fmla="*/ 2893 h 102813"/>
                <a:gd name="connsiteX2" fmla="*/ 295276 w 357188"/>
                <a:gd name="connsiteY2" fmla="*/ 9943 h 102813"/>
                <a:gd name="connsiteX3" fmla="*/ 357188 w 357188"/>
                <a:gd name="connsiteY3" fmla="*/ 102813 h 102813"/>
                <a:gd name="connsiteX4" fmla="*/ 0 w 357188"/>
                <a:gd name="connsiteY4" fmla="*/ 102813 h 102813"/>
                <a:gd name="connsiteX5" fmla="*/ 50005 w 357188"/>
                <a:gd name="connsiteY5" fmla="*/ 12324 h 102813"/>
                <a:gd name="connsiteX0" fmla="*/ 50005 w 362306"/>
                <a:gd name="connsiteY0" fmla="*/ 12324 h 102813"/>
                <a:gd name="connsiteX1" fmla="*/ 173831 w 362306"/>
                <a:gd name="connsiteY1" fmla="*/ 2893 h 102813"/>
                <a:gd name="connsiteX2" fmla="*/ 295276 w 362306"/>
                <a:gd name="connsiteY2" fmla="*/ 9943 h 102813"/>
                <a:gd name="connsiteX3" fmla="*/ 357188 w 362306"/>
                <a:gd name="connsiteY3" fmla="*/ 102813 h 102813"/>
                <a:gd name="connsiteX4" fmla="*/ 164306 w 362306"/>
                <a:gd name="connsiteY4" fmla="*/ 100649 h 102813"/>
                <a:gd name="connsiteX5" fmla="*/ 0 w 362306"/>
                <a:gd name="connsiteY5" fmla="*/ 102813 h 102813"/>
                <a:gd name="connsiteX6" fmla="*/ 50005 w 362306"/>
                <a:gd name="connsiteY6" fmla="*/ 12324 h 102813"/>
                <a:gd name="connsiteX0" fmla="*/ 50005 w 362306"/>
                <a:gd name="connsiteY0" fmla="*/ 12324 h 102813"/>
                <a:gd name="connsiteX1" fmla="*/ 173831 w 362306"/>
                <a:gd name="connsiteY1" fmla="*/ 2893 h 102813"/>
                <a:gd name="connsiteX2" fmla="*/ 295276 w 362306"/>
                <a:gd name="connsiteY2" fmla="*/ 9943 h 102813"/>
                <a:gd name="connsiteX3" fmla="*/ 357188 w 362306"/>
                <a:gd name="connsiteY3" fmla="*/ 102813 h 102813"/>
                <a:gd name="connsiteX4" fmla="*/ 178593 w 362306"/>
                <a:gd name="connsiteY4" fmla="*/ 98376 h 102813"/>
                <a:gd name="connsiteX5" fmla="*/ 0 w 362306"/>
                <a:gd name="connsiteY5" fmla="*/ 102813 h 102813"/>
                <a:gd name="connsiteX6" fmla="*/ 50005 w 362306"/>
                <a:gd name="connsiteY6" fmla="*/ 12324 h 102813"/>
                <a:gd name="connsiteX0" fmla="*/ 3 w 362309"/>
                <a:gd name="connsiteY0" fmla="*/ 108921 h 108921"/>
                <a:gd name="connsiteX1" fmla="*/ 173834 w 362309"/>
                <a:gd name="connsiteY1" fmla="*/ 9001 h 108921"/>
                <a:gd name="connsiteX2" fmla="*/ 295279 w 362309"/>
                <a:gd name="connsiteY2" fmla="*/ 16051 h 108921"/>
                <a:gd name="connsiteX3" fmla="*/ 357191 w 362309"/>
                <a:gd name="connsiteY3" fmla="*/ 108921 h 108921"/>
                <a:gd name="connsiteX4" fmla="*/ 178596 w 362309"/>
                <a:gd name="connsiteY4" fmla="*/ 104484 h 108921"/>
                <a:gd name="connsiteX5" fmla="*/ 3 w 362309"/>
                <a:gd name="connsiteY5" fmla="*/ 108921 h 108921"/>
                <a:gd name="connsiteX0" fmla="*/ 4762 w 188475"/>
                <a:gd name="connsiteY0" fmla="*/ 104484 h 108921"/>
                <a:gd name="connsiteX1" fmla="*/ 0 w 188475"/>
                <a:gd name="connsiteY1" fmla="*/ 9001 h 108921"/>
                <a:gd name="connsiteX2" fmla="*/ 121445 w 188475"/>
                <a:gd name="connsiteY2" fmla="*/ 16051 h 108921"/>
                <a:gd name="connsiteX3" fmla="*/ 183357 w 188475"/>
                <a:gd name="connsiteY3" fmla="*/ 108921 h 108921"/>
                <a:gd name="connsiteX4" fmla="*/ 4762 w 188475"/>
                <a:gd name="connsiteY4" fmla="*/ 104484 h 108921"/>
                <a:gd name="connsiteX0" fmla="*/ 0 w 188475"/>
                <a:gd name="connsiteY0" fmla="*/ 106757 h 108921"/>
                <a:gd name="connsiteX1" fmla="*/ 0 w 188475"/>
                <a:gd name="connsiteY1" fmla="*/ 9001 h 108921"/>
                <a:gd name="connsiteX2" fmla="*/ 121445 w 188475"/>
                <a:gd name="connsiteY2" fmla="*/ 16051 h 108921"/>
                <a:gd name="connsiteX3" fmla="*/ 183357 w 188475"/>
                <a:gd name="connsiteY3" fmla="*/ 108921 h 108921"/>
                <a:gd name="connsiteX4" fmla="*/ 0 w 188475"/>
                <a:gd name="connsiteY4" fmla="*/ 106757 h 108921"/>
                <a:gd name="connsiteX0" fmla="*/ 0 w 188475"/>
                <a:gd name="connsiteY0" fmla="*/ 99620 h 101784"/>
                <a:gd name="connsiteX1" fmla="*/ 0 w 188475"/>
                <a:gd name="connsiteY1" fmla="*/ 1864 h 101784"/>
                <a:gd name="connsiteX2" fmla="*/ 121445 w 188475"/>
                <a:gd name="connsiteY2" fmla="*/ 8914 h 101784"/>
                <a:gd name="connsiteX3" fmla="*/ 183357 w 188475"/>
                <a:gd name="connsiteY3" fmla="*/ 101784 h 101784"/>
                <a:gd name="connsiteX4" fmla="*/ 0 w 188475"/>
                <a:gd name="connsiteY4" fmla="*/ 99620 h 101784"/>
                <a:gd name="connsiteX0" fmla="*/ 0 w 189246"/>
                <a:gd name="connsiteY0" fmla="*/ 97756 h 99920"/>
                <a:gd name="connsiteX1" fmla="*/ 0 w 189246"/>
                <a:gd name="connsiteY1" fmla="*/ 0 h 99920"/>
                <a:gd name="connsiteX2" fmla="*/ 130970 w 189246"/>
                <a:gd name="connsiteY2" fmla="*/ 20690 h 99920"/>
                <a:gd name="connsiteX3" fmla="*/ 183357 w 189246"/>
                <a:gd name="connsiteY3" fmla="*/ 99920 h 99920"/>
                <a:gd name="connsiteX4" fmla="*/ 0 w 189246"/>
                <a:gd name="connsiteY4" fmla="*/ 97756 h 99920"/>
                <a:gd name="connsiteX0" fmla="*/ 0 w 188516"/>
                <a:gd name="connsiteY0" fmla="*/ 97756 h 99920"/>
                <a:gd name="connsiteX1" fmla="*/ 0 w 188516"/>
                <a:gd name="connsiteY1" fmla="*/ 0 h 99920"/>
                <a:gd name="connsiteX2" fmla="*/ 130970 w 188516"/>
                <a:gd name="connsiteY2" fmla="*/ 20690 h 99920"/>
                <a:gd name="connsiteX3" fmla="*/ 183357 w 188516"/>
                <a:gd name="connsiteY3" fmla="*/ 99920 h 99920"/>
                <a:gd name="connsiteX4" fmla="*/ 0 w 188516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30970 w 183357"/>
                <a:gd name="connsiteY2" fmla="*/ 2069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28589 w 183357"/>
                <a:gd name="connsiteY2" fmla="*/ 1387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28589 w 183357"/>
                <a:gd name="connsiteY2" fmla="*/ 1387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357" h="99920">
                  <a:moveTo>
                    <a:pt x="0" y="97756"/>
                  </a:moveTo>
                  <a:lnTo>
                    <a:pt x="0" y="0"/>
                  </a:lnTo>
                  <a:cubicBezTo>
                    <a:pt x="53975" y="2709"/>
                    <a:pt x="107554" y="-5056"/>
                    <a:pt x="128589" y="13870"/>
                  </a:cubicBezTo>
                  <a:cubicBezTo>
                    <a:pt x="149624" y="32796"/>
                    <a:pt x="164704" y="57522"/>
                    <a:pt x="183357" y="99920"/>
                  </a:cubicBezTo>
                  <a:lnTo>
                    <a:pt x="0" y="977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ounded Rectangle 43">
              <a:extLst>
                <a:ext uri="{FF2B5EF4-FFF2-40B4-BE49-F238E27FC236}">
                  <a16:creationId xmlns:a16="http://schemas.microsoft.com/office/drawing/2014/main" id="{81A980C7-66F1-4F16-BE15-3DCA38EB8CD1}"/>
                </a:ext>
              </a:extLst>
            </p:cNvPr>
            <p:cNvSpPr/>
            <p:nvPr/>
          </p:nvSpPr>
          <p:spPr>
            <a:xfrm>
              <a:off x="2350438" y="1609469"/>
              <a:ext cx="245476" cy="147286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ounded Rectangle 44">
              <a:extLst>
                <a:ext uri="{FF2B5EF4-FFF2-40B4-BE49-F238E27FC236}">
                  <a16:creationId xmlns:a16="http://schemas.microsoft.com/office/drawing/2014/main" id="{48C3F18D-AA5D-43DD-87CD-7887770DFA70}"/>
                </a:ext>
              </a:extLst>
            </p:cNvPr>
            <p:cNvSpPr/>
            <p:nvPr/>
          </p:nvSpPr>
          <p:spPr>
            <a:xfrm>
              <a:off x="3300650" y="1608447"/>
              <a:ext cx="245476" cy="147286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Oval 45">
              <a:extLst>
                <a:ext uri="{FF2B5EF4-FFF2-40B4-BE49-F238E27FC236}">
                  <a16:creationId xmlns:a16="http://schemas.microsoft.com/office/drawing/2014/main" id="{B07861C1-1B8C-43F1-BDE3-8C4ACB0785A1}"/>
                </a:ext>
              </a:extLst>
            </p:cNvPr>
            <p:cNvSpPr/>
            <p:nvPr/>
          </p:nvSpPr>
          <p:spPr>
            <a:xfrm>
              <a:off x="3172783" y="1363993"/>
              <a:ext cx="190244" cy="165697"/>
            </a:xfrm>
            <a:prstGeom prst="ellipse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898824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2D1E5E8-D711-46FE-9C60-B9EEB98BD5B5}"/>
              </a:ext>
            </a:extLst>
          </p:cNvPr>
          <p:cNvSpPr/>
          <p:nvPr/>
        </p:nvSpPr>
        <p:spPr>
          <a:xfrm>
            <a:off x="1098340" y="3361620"/>
            <a:ext cx="9361040" cy="252028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90000"/>
                  <a:shade val="30000"/>
                  <a:satMod val="115000"/>
                </a:schemeClr>
              </a:gs>
              <a:gs pos="50000">
                <a:schemeClr val="accent1">
                  <a:lumMod val="90000"/>
                  <a:shade val="67500"/>
                  <a:satMod val="115000"/>
                </a:schemeClr>
              </a:gs>
              <a:gs pos="100000">
                <a:schemeClr val="accent1">
                  <a:lumMod val="90000"/>
                  <a:shade val="100000"/>
                  <a:satMod val="115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Cadre 20">
            <a:extLst>
              <a:ext uri="{FF2B5EF4-FFF2-40B4-BE49-F238E27FC236}">
                <a16:creationId xmlns:a16="http://schemas.microsoft.com/office/drawing/2014/main" id="{CD0A875A-9B42-4CE9-8CD8-132D60947A0D}"/>
              </a:ext>
            </a:extLst>
          </p:cNvPr>
          <p:cNvSpPr>
            <a:spLocks noChangeAspect="1"/>
          </p:cNvSpPr>
          <p:nvPr/>
        </p:nvSpPr>
        <p:spPr>
          <a:xfrm>
            <a:off x="8872489" y="2899013"/>
            <a:ext cx="1976038" cy="3456915"/>
          </a:xfrm>
          <a:prstGeom prst="frame">
            <a:avLst>
              <a:gd name="adj1" fmla="val 8507"/>
            </a:avLst>
          </a:prstGeom>
          <a:solidFill>
            <a:srgbClr val="0070C0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F54FD8BD-5DAB-48BD-B11D-4DC81E6C37F8}"/>
              </a:ext>
            </a:extLst>
          </p:cNvPr>
          <p:cNvSpPr txBox="1"/>
          <p:nvPr/>
        </p:nvSpPr>
        <p:spPr>
          <a:xfrm>
            <a:off x="1415480" y="3475608"/>
            <a:ext cx="23042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chemeClr val="accent1">
                    <a:lumMod val="10000"/>
                  </a:schemeClr>
                </a:solidFill>
              </a:rPr>
              <a:t>Technique</a:t>
            </a:r>
            <a:endParaRPr lang="en-GB" sz="2400" dirty="0">
              <a:solidFill>
                <a:schemeClr val="accent1">
                  <a:lumMod val="10000"/>
                </a:schemeClr>
              </a:solidFill>
            </a:endParaRP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CFDF0467-452B-46F4-8CF0-E50D12D1A534}"/>
              </a:ext>
            </a:extLst>
          </p:cNvPr>
          <p:cNvSpPr>
            <a:spLocks noChangeAspect="1"/>
          </p:cNvSpPr>
          <p:nvPr/>
        </p:nvSpPr>
        <p:spPr>
          <a:xfrm>
            <a:off x="553604" y="2901871"/>
            <a:ext cx="8244239" cy="3456915"/>
          </a:xfrm>
          <a:prstGeom prst="frame">
            <a:avLst>
              <a:gd name="adj1" fmla="val 8507"/>
            </a:avLst>
          </a:prstGeom>
          <a:solidFill>
            <a:srgbClr val="FF0000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5A138FAE-7B0F-4CA1-A7B7-DDD650E060E7}"/>
              </a:ext>
            </a:extLst>
          </p:cNvPr>
          <p:cNvSpPr txBox="1"/>
          <p:nvPr/>
        </p:nvSpPr>
        <p:spPr>
          <a:xfrm>
            <a:off x="983432" y="2855746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Technical </a:t>
            </a:r>
            <a:r>
              <a:rPr lang="fr-FR" dirty="0" err="1"/>
              <a:t>Regulation</a:t>
            </a:r>
            <a:r>
              <a:rPr lang="fr-FR" dirty="0"/>
              <a:t> frame</a:t>
            </a:r>
            <a:endParaRPr lang="en-GB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9802C06-FC58-47C6-9C5D-F0E1C11DB428}"/>
              </a:ext>
            </a:extLst>
          </p:cNvPr>
          <p:cNvSpPr txBox="1"/>
          <p:nvPr/>
        </p:nvSpPr>
        <p:spPr>
          <a:xfrm>
            <a:off x="8490259" y="3483986"/>
            <a:ext cx="7560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HMI</a:t>
            </a:r>
            <a:endParaRPr lang="en-GB" sz="2400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CEB98D34-3867-437E-9504-6178310891D5}"/>
              </a:ext>
            </a:extLst>
          </p:cNvPr>
          <p:cNvSpPr txBox="1"/>
          <p:nvPr/>
        </p:nvSpPr>
        <p:spPr>
          <a:xfrm>
            <a:off x="9307252" y="3469789"/>
            <a:ext cx="14692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Driver</a:t>
            </a:r>
            <a:endParaRPr lang="en-GB" sz="240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A70A60A-938F-4C82-AFF6-CF5EBBEBF771}"/>
              </a:ext>
            </a:extLst>
          </p:cNvPr>
          <p:cNvSpPr txBox="1"/>
          <p:nvPr/>
        </p:nvSpPr>
        <p:spPr>
          <a:xfrm>
            <a:off x="1415480" y="4784526"/>
            <a:ext cx="23042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 err="1"/>
              <a:t>Braking</a:t>
            </a:r>
            <a:r>
              <a:rPr lang="fr-FR" sz="2000" dirty="0"/>
              <a:t> system</a:t>
            </a:r>
          </a:p>
          <a:p>
            <a:r>
              <a:rPr lang="fr-FR" sz="2000" dirty="0" err="1"/>
              <a:t>Steering</a:t>
            </a:r>
            <a:r>
              <a:rPr lang="fr-FR" sz="2000" dirty="0"/>
              <a:t> system</a:t>
            </a:r>
          </a:p>
          <a:p>
            <a:r>
              <a:rPr lang="fr-FR" sz="2000" dirty="0"/>
              <a:t>…</a:t>
            </a:r>
            <a:endParaRPr lang="en-GB" sz="2000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F52E706-3ED7-4DC5-9237-339FD8CCCE28}"/>
              </a:ext>
            </a:extLst>
          </p:cNvPr>
          <p:cNvSpPr txBox="1"/>
          <p:nvPr/>
        </p:nvSpPr>
        <p:spPr>
          <a:xfrm>
            <a:off x="9163236" y="4762459"/>
            <a:ext cx="146926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/>
              <a:t>Strategic </a:t>
            </a:r>
            <a:r>
              <a:rPr lang="fr-FR" sz="2000" dirty="0" err="1"/>
              <a:t>decisions</a:t>
            </a:r>
            <a:endParaRPr lang="fr-FR" sz="2000" dirty="0"/>
          </a:p>
          <a:p>
            <a:endParaRPr lang="fr-FR" dirty="0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F6DD59FB-A7BA-4ECE-AE1E-A9D91BFCF897}"/>
              </a:ext>
            </a:extLst>
          </p:cNvPr>
          <p:cNvSpPr txBox="1"/>
          <p:nvPr/>
        </p:nvSpPr>
        <p:spPr>
          <a:xfrm>
            <a:off x="5807968" y="4077072"/>
            <a:ext cx="1704143" cy="1231106"/>
          </a:xfrm>
          <a:prstGeom prst="rect">
            <a:avLst/>
          </a:prstGeom>
          <a:solidFill>
            <a:srgbClr val="CD6C31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FR" sz="2800" dirty="0" err="1"/>
              <a:t>Tactical</a:t>
            </a:r>
            <a:r>
              <a:rPr lang="fr-FR" sz="2800" dirty="0"/>
              <a:t> </a:t>
            </a:r>
            <a:r>
              <a:rPr lang="fr-FR" sz="2800" dirty="0" err="1"/>
              <a:t>decisions</a:t>
            </a:r>
            <a:endParaRPr lang="fr-FR" sz="2800" dirty="0"/>
          </a:p>
          <a:p>
            <a:endParaRPr lang="fr-FR" dirty="0"/>
          </a:p>
        </p:txBody>
      </p:sp>
      <p:sp>
        <p:nvSpPr>
          <p:cNvPr id="26" name="Rectangle 4">
            <a:extLst>
              <a:ext uri="{FF2B5EF4-FFF2-40B4-BE49-F238E27FC236}">
                <a16:creationId xmlns:a16="http://schemas.microsoft.com/office/drawing/2014/main" id="{064469BE-69FF-4C80-AB12-F0AE4FF952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pic>
        <p:nvPicPr>
          <p:cNvPr id="55" name="Graphique 54" descr="Homme">
            <a:extLst>
              <a:ext uri="{FF2B5EF4-FFF2-40B4-BE49-F238E27FC236}">
                <a16:creationId xmlns:a16="http://schemas.microsoft.com/office/drawing/2014/main" id="{F4940DD8-ADAC-44C3-8F86-7364D27DA0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62912" y="3934208"/>
            <a:ext cx="765536" cy="765536"/>
          </a:xfrm>
          <a:prstGeom prst="rect">
            <a:avLst/>
          </a:prstGeom>
        </p:spPr>
      </p:pic>
      <p:pic>
        <p:nvPicPr>
          <p:cNvPr id="57" name="Image 56">
            <a:extLst>
              <a:ext uri="{FF2B5EF4-FFF2-40B4-BE49-F238E27FC236}">
                <a16:creationId xmlns:a16="http://schemas.microsoft.com/office/drawing/2014/main" id="{33D8D110-FA23-4A3C-989A-65E39036F7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8696298" y="3877777"/>
            <a:ext cx="352381" cy="271303"/>
          </a:xfrm>
          <a:prstGeom prst="rect">
            <a:avLst/>
          </a:prstGeom>
        </p:spPr>
      </p:pic>
      <p:sp>
        <p:nvSpPr>
          <p:cNvPr id="23" name="ZoneTexte 22">
            <a:extLst>
              <a:ext uri="{FF2B5EF4-FFF2-40B4-BE49-F238E27FC236}">
                <a16:creationId xmlns:a16="http://schemas.microsoft.com/office/drawing/2014/main" id="{4FB7D3B0-9F32-4C0C-B6CA-9F321BA9EA36}"/>
              </a:ext>
            </a:extLst>
          </p:cNvPr>
          <p:cNvSpPr txBox="1"/>
          <p:nvPr/>
        </p:nvSpPr>
        <p:spPr>
          <a:xfrm>
            <a:off x="8945128" y="2494637"/>
            <a:ext cx="21485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Road Traffic </a:t>
            </a:r>
            <a:r>
              <a:rPr lang="fr-FR" dirty="0" err="1"/>
              <a:t>Regulation</a:t>
            </a:r>
            <a:r>
              <a:rPr lang="fr-FR" dirty="0"/>
              <a:t> frame</a:t>
            </a:r>
            <a:endParaRPr lang="en-GB" dirty="0"/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81AF2519-2D62-45AA-8BAF-D6D8AF6BA88A}"/>
              </a:ext>
            </a:extLst>
          </p:cNvPr>
          <p:cNvGrpSpPr/>
          <p:nvPr/>
        </p:nvGrpSpPr>
        <p:grpSpPr>
          <a:xfrm>
            <a:off x="1797520" y="4067357"/>
            <a:ext cx="767706" cy="560379"/>
            <a:chOff x="2058634" y="1001915"/>
            <a:chExt cx="1780736" cy="1258474"/>
          </a:xfrm>
        </p:grpSpPr>
        <p:sp>
          <p:nvSpPr>
            <p:cNvPr id="27" name="Rounded Rectangle 5">
              <a:extLst>
                <a:ext uri="{FF2B5EF4-FFF2-40B4-BE49-F238E27FC236}">
                  <a16:creationId xmlns:a16="http://schemas.microsoft.com/office/drawing/2014/main" id="{6DF57751-6C78-4055-9D6B-6C8E8B8495B0}"/>
                </a:ext>
              </a:extLst>
            </p:cNvPr>
            <p:cNvSpPr/>
            <p:nvPr/>
          </p:nvSpPr>
          <p:spPr>
            <a:xfrm>
              <a:off x="2201426" y="1001915"/>
              <a:ext cx="1498555" cy="1063474"/>
            </a:xfrm>
            <a:custGeom>
              <a:avLst/>
              <a:gdLst>
                <a:gd name="connsiteX0" fmla="*/ 0 w 333375"/>
                <a:gd name="connsiteY0" fmla="*/ 93665 h 337828"/>
                <a:gd name="connsiteX1" fmla="*/ 93665 w 333375"/>
                <a:gd name="connsiteY1" fmla="*/ 0 h 337828"/>
                <a:gd name="connsiteX2" fmla="*/ 239710 w 333375"/>
                <a:gd name="connsiteY2" fmla="*/ 0 h 337828"/>
                <a:gd name="connsiteX3" fmla="*/ 333375 w 333375"/>
                <a:gd name="connsiteY3" fmla="*/ 93665 h 337828"/>
                <a:gd name="connsiteX4" fmla="*/ 333375 w 333375"/>
                <a:gd name="connsiteY4" fmla="*/ 244163 h 337828"/>
                <a:gd name="connsiteX5" fmla="*/ 239710 w 333375"/>
                <a:gd name="connsiteY5" fmla="*/ 337828 h 337828"/>
                <a:gd name="connsiteX6" fmla="*/ 93665 w 333375"/>
                <a:gd name="connsiteY6" fmla="*/ 337828 h 337828"/>
                <a:gd name="connsiteX7" fmla="*/ 0 w 333375"/>
                <a:gd name="connsiteY7" fmla="*/ 244163 h 337828"/>
                <a:gd name="connsiteX8" fmla="*/ 0 w 333375"/>
                <a:gd name="connsiteY8" fmla="*/ 93665 h 337828"/>
                <a:gd name="connsiteX0" fmla="*/ 0 w 361950"/>
                <a:gd name="connsiteY0" fmla="*/ 93665 h 337828"/>
                <a:gd name="connsiteX1" fmla="*/ 93665 w 361950"/>
                <a:gd name="connsiteY1" fmla="*/ 0 h 337828"/>
                <a:gd name="connsiteX2" fmla="*/ 239710 w 361950"/>
                <a:gd name="connsiteY2" fmla="*/ 0 h 337828"/>
                <a:gd name="connsiteX3" fmla="*/ 361950 w 361950"/>
                <a:gd name="connsiteY3" fmla="*/ 91283 h 337828"/>
                <a:gd name="connsiteX4" fmla="*/ 333375 w 361950"/>
                <a:gd name="connsiteY4" fmla="*/ 244163 h 337828"/>
                <a:gd name="connsiteX5" fmla="*/ 239710 w 361950"/>
                <a:gd name="connsiteY5" fmla="*/ 337828 h 337828"/>
                <a:gd name="connsiteX6" fmla="*/ 93665 w 361950"/>
                <a:gd name="connsiteY6" fmla="*/ 337828 h 337828"/>
                <a:gd name="connsiteX7" fmla="*/ 0 w 361950"/>
                <a:gd name="connsiteY7" fmla="*/ 244163 h 337828"/>
                <a:gd name="connsiteX8" fmla="*/ 0 w 361950"/>
                <a:gd name="connsiteY8" fmla="*/ 93665 h 337828"/>
                <a:gd name="connsiteX0" fmla="*/ 0 w 369094"/>
                <a:gd name="connsiteY0" fmla="*/ 93665 h 373192"/>
                <a:gd name="connsiteX1" fmla="*/ 93665 w 369094"/>
                <a:gd name="connsiteY1" fmla="*/ 0 h 373192"/>
                <a:gd name="connsiteX2" fmla="*/ 239710 w 369094"/>
                <a:gd name="connsiteY2" fmla="*/ 0 h 373192"/>
                <a:gd name="connsiteX3" fmla="*/ 361950 w 369094"/>
                <a:gd name="connsiteY3" fmla="*/ 91283 h 373192"/>
                <a:gd name="connsiteX4" fmla="*/ 369094 w 369094"/>
                <a:gd name="connsiteY4" fmla="*/ 353700 h 373192"/>
                <a:gd name="connsiteX5" fmla="*/ 239710 w 369094"/>
                <a:gd name="connsiteY5" fmla="*/ 337828 h 373192"/>
                <a:gd name="connsiteX6" fmla="*/ 93665 w 369094"/>
                <a:gd name="connsiteY6" fmla="*/ 337828 h 373192"/>
                <a:gd name="connsiteX7" fmla="*/ 0 w 369094"/>
                <a:gd name="connsiteY7" fmla="*/ 244163 h 373192"/>
                <a:gd name="connsiteX8" fmla="*/ 0 w 369094"/>
                <a:gd name="connsiteY8" fmla="*/ 93665 h 373192"/>
                <a:gd name="connsiteX0" fmla="*/ 0 w 405426"/>
                <a:gd name="connsiteY0" fmla="*/ 93665 h 373192"/>
                <a:gd name="connsiteX1" fmla="*/ 93665 w 405426"/>
                <a:gd name="connsiteY1" fmla="*/ 0 h 373192"/>
                <a:gd name="connsiteX2" fmla="*/ 239710 w 405426"/>
                <a:gd name="connsiteY2" fmla="*/ 0 h 373192"/>
                <a:gd name="connsiteX3" fmla="*/ 361950 w 405426"/>
                <a:gd name="connsiteY3" fmla="*/ 91283 h 373192"/>
                <a:gd name="connsiteX4" fmla="*/ 369094 w 405426"/>
                <a:gd name="connsiteY4" fmla="*/ 353700 h 373192"/>
                <a:gd name="connsiteX5" fmla="*/ 239710 w 405426"/>
                <a:gd name="connsiteY5" fmla="*/ 337828 h 373192"/>
                <a:gd name="connsiteX6" fmla="*/ 93665 w 405426"/>
                <a:gd name="connsiteY6" fmla="*/ 337828 h 373192"/>
                <a:gd name="connsiteX7" fmla="*/ 0 w 405426"/>
                <a:gd name="connsiteY7" fmla="*/ 244163 h 373192"/>
                <a:gd name="connsiteX8" fmla="*/ 0 w 405426"/>
                <a:gd name="connsiteY8" fmla="*/ 93665 h 373192"/>
                <a:gd name="connsiteX0" fmla="*/ 0 w 412044"/>
                <a:gd name="connsiteY0" fmla="*/ 93665 h 373192"/>
                <a:gd name="connsiteX1" fmla="*/ 93665 w 412044"/>
                <a:gd name="connsiteY1" fmla="*/ 0 h 373192"/>
                <a:gd name="connsiteX2" fmla="*/ 239710 w 412044"/>
                <a:gd name="connsiteY2" fmla="*/ 0 h 373192"/>
                <a:gd name="connsiteX3" fmla="*/ 361950 w 412044"/>
                <a:gd name="connsiteY3" fmla="*/ 91283 h 373192"/>
                <a:gd name="connsiteX4" fmla="*/ 369094 w 412044"/>
                <a:gd name="connsiteY4" fmla="*/ 353700 h 373192"/>
                <a:gd name="connsiteX5" fmla="*/ 239710 w 412044"/>
                <a:gd name="connsiteY5" fmla="*/ 337828 h 373192"/>
                <a:gd name="connsiteX6" fmla="*/ 93665 w 412044"/>
                <a:gd name="connsiteY6" fmla="*/ 337828 h 373192"/>
                <a:gd name="connsiteX7" fmla="*/ 0 w 412044"/>
                <a:gd name="connsiteY7" fmla="*/ 244163 h 373192"/>
                <a:gd name="connsiteX8" fmla="*/ 0 w 412044"/>
                <a:gd name="connsiteY8" fmla="*/ 93665 h 373192"/>
                <a:gd name="connsiteX0" fmla="*/ 0 w 417068"/>
                <a:gd name="connsiteY0" fmla="*/ 93665 h 369364"/>
                <a:gd name="connsiteX1" fmla="*/ 93665 w 417068"/>
                <a:gd name="connsiteY1" fmla="*/ 0 h 369364"/>
                <a:gd name="connsiteX2" fmla="*/ 239710 w 417068"/>
                <a:gd name="connsiteY2" fmla="*/ 0 h 369364"/>
                <a:gd name="connsiteX3" fmla="*/ 361950 w 417068"/>
                <a:gd name="connsiteY3" fmla="*/ 91283 h 369364"/>
                <a:gd name="connsiteX4" fmla="*/ 376238 w 417068"/>
                <a:gd name="connsiteY4" fmla="*/ 348938 h 369364"/>
                <a:gd name="connsiteX5" fmla="*/ 239710 w 417068"/>
                <a:gd name="connsiteY5" fmla="*/ 337828 h 369364"/>
                <a:gd name="connsiteX6" fmla="*/ 93665 w 417068"/>
                <a:gd name="connsiteY6" fmla="*/ 337828 h 369364"/>
                <a:gd name="connsiteX7" fmla="*/ 0 w 417068"/>
                <a:gd name="connsiteY7" fmla="*/ 244163 h 369364"/>
                <a:gd name="connsiteX8" fmla="*/ 0 w 417068"/>
                <a:gd name="connsiteY8" fmla="*/ 93665 h 369364"/>
                <a:gd name="connsiteX0" fmla="*/ 0 w 407569"/>
                <a:gd name="connsiteY0" fmla="*/ 93665 h 369364"/>
                <a:gd name="connsiteX1" fmla="*/ 93665 w 407569"/>
                <a:gd name="connsiteY1" fmla="*/ 0 h 369364"/>
                <a:gd name="connsiteX2" fmla="*/ 239710 w 407569"/>
                <a:gd name="connsiteY2" fmla="*/ 0 h 369364"/>
                <a:gd name="connsiteX3" fmla="*/ 361950 w 407569"/>
                <a:gd name="connsiteY3" fmla="*/ 91283 h 369364"/>
                <a:gd name="connsiteX4" fmla="*/ 376238 w 407569"/>
                <a:gd name="connsiteY4" fmla="*/ 348938 h 369364"/>
                <a:gd name="connsiteX5" fmla="*/ 239710 w 407569"/>
                <a:gd name="connsiteY5" fmla="*/ 337828 h 369364"/>
                <a:gd name="connsiteX6" fmla="*/ 93665 w 407569"/>
                <a:gd name="connsiteY6" fmla="*/ 337828 h 369364"/>
                <a:gd name="connsiteX7" fmla="*/ 0 w 407569"/>
                <a:gd name="connsiteY7" fmla="*/ 244163 h 369364"/>
                <a:gd name="connsiteX8" fmla="*/ 0 w 407569"/>
                <a:gd name="connsiteY8" fmla="*/ 93665 h 369364"/>
                <a:gd name="connsiteX0" fmla="*/ 0 w 401248"/>
                <a:gd name="connsiteY0" fmla="*/ 93665 h 369364"/>
                <a:gd name="connsiteX1" fmla="*/ 93665 w 401248"/>
                <a:gd name="connsiteY1" fmla="*/ 0 h 369364"/>
                <a:gd name="connsiteX2" fmla="*/ 239710 w 401248"/>
                <a:gd name="connsiteY2" fmla="*/ 0 h 369364"/>
                <a:gd name="connsiteX3" fmla="*/ 361950 w 401248"/>
                <a:gd name="connsiteY3" fmla="*/ 91283 h 369364"/>
                <a:gd name="connsiteX4" fmla="*/ 376238 w 401248"/>
                <a:gd name="connsiteY4" fmla="*/ 348938 h 369364"/>
                <a:gd name="connsiteX5" fmla="*/ 239710 w 401248"/>
                <a:gd name="connsiteY5" fmla="*/ 337828 h 369364"/>
                <a:gd name="connsiteX6" fmla="*/ 93665 w 401248"/>
                <a:gd name="connsiteY6" fmla="*/ 337828 h 369364"/>
                <a:gd name="connsiteX7" fmla="*/ 0 w 401248"/>
                <a:gd name="connsiteY7" fmla="*/ 244163 h 369364"/>
                <a:gd name="connsiteX8" fmla="*/ 0 w 401248"/>
                <a:gd name="connsiteY8" fmla="*/ 93665 h 369364"/>
                <a:gd name="connsiteX0" fmla="*/ 0 w 405461"/>
                <a:gd name="connsiteY0" fmla="*/ 93665 h 369364"/>
                <a:gd name="connsiteX1" fmla="*/ 93665 w 405461"/>
                <a:gd name="connsiteY1" fmla="*/ 0 h 369364"/>
                <a:gd name="connsiteX2" fmla="*/ 239710 w 405461"/>
                <a:gd name="connsiteY2" fmla="*/ 0 h 369364"/>
                <a:gd name="connsiteX3" fmla="*/ 361950 w 405461"/>
                <a:gd name="connsiteY3" fmla="*/ 91283 h 369364"/>
                <a:gd name="connsiteX4" fmla="*/ 376238 w 405461"/>
                <a:gd name="connsiteY4" fmla="*/ 348938 h 369364"/>
                <a:gd name="connsiteX5" fmla="*/ 239710 w 405461"/>
                <a:gd name="connsiteY5" fmla="*/ 337828 h 369364"/>
                <a:gd name="connsiteX6" fmla="*/ 93665 w 405461"/>
                <a:gd name="connsiteY6" fmla="*/ 337828 h 369364"/>
                <a:gd name="connsiteX7" fmla="*/ 0 w 405461"/>
                <a:gd name="connsiteY7" fmla="*/ 244163 h 369364"/>
                <a:gd name="connsiteX8" fmla="*/ 0 w 405461"/>
                <a:gd name="connsiteY8" fmla="*/ 93665 h 369364"/>
                <a:gd name="connsiteX0" fmla="*/ 0 w 409271"/>
                <a:gd name="connsiteY0" fmla="*/ 93665 h 369364"/>
                <a:gd name="connsiteX1" fmla="*/ 93665 w 409271"/>
                <a:gd name="connsiteY1" fmla="*/ 0 h 369364"/>
                <a:gd name="connsiteX2" fmla="*/ 239710 w 409271"/>
                <a:gd name="connsiteY2" fmla="*/ 0 h 369364"/>
                <a:gd name="connsiteX3" fmla="*/ 361950 w 409271"/>
                <a:gd name="connsiteY3" fmla="*/ 91283 h 369364"/>
                <a:gd name="connsiteX4" fmla="*/ 376238 w 409271"/>
                <a:gd name="connsiteY4" fmla="*/ 348938 h 369364"/>
                <a:gd name="connsiteX5" fmla="*/ 239710 w 409271"/>
                <a:gd name="connsiteY5" fmla="*/ 337828 h 369364"/>
                <a:gd name="connsiteX6" fmla="*/ 93665 w 409271"/>
                <a:gd name="connsiteY6" fmla="*/ 337828 h 369364"/>
                <a:gd name="connsiteX7" fmla="*/ 0 w 409271"/>
                <a:gd name="connsiteY7" fmla="*/ 244163 h 369364"/>
                <a:gd name="connsiteX8" fmla="*/ 0 w 409271"/>
                <a:gd name="connsiteY8" fmla="*/ 93665 h 369364"/>
                <a:gd name="connsiteX0" fmla="*/ 0 w 444989"/>
                <a:gd name="connsiteY0" fmla="*/ 91284 h 369364"/>
                <a:gd name="connsiteX1" fmla="*/ 129383 w 444989"/>
                <a:gd name="connsiteY1" fmla="*/ 0 h 369364"/>
                <a:gd name="connsiteX2" fmla="*/ 275428 w 444989"/>
                <a:gd name="connsiteY2" fmla="*/ 0 h 369364"/>
                <a:gd name="connsiteX3" fmla="*/ 397668 w 444989"/>
                <a:gd name="connsiteY3" fmla="*/ 91283 h 369364"/>
                <a:gd name="connsiteX4" fmla="*/ 411956 w 444989"/>
                <a:gd name="connsiteY4" fmla="*/ 348938 h 369364"/>
                <a:gd name="connsiteX5" fmla="*/ 275428 w 444989"/>
                <a:gd name="connsiteY5" fmla="*/ 337828 h 369364"/>
                <a:gd name="connsiteX6" fmla="*/ 129383 w 444989"/>
                <a:gd name="connsiteY6" fmla="*/ 337828 h 369364"/>
                <a:gd name="connsiteX7" fmla="*/ 35718 w 444989"/>
                <a:gd name="connsiteY7" fmla="*/ 244163 h 369364"/>
                <a:gd name="connsiteX8" fmla="*/ 0 w 444989"/>
                <a:gd name="connsiteY8" fmla="*/ 91284 h 369364"/>
                <a:gd name="connsiteX0" fmla="*/ 0 w 444989"/>
                <a:gd name="connsiteY0" fmla="*/ 91284 h 369364"/>
                <a:gd name="connsiteX1" fmla="*/ 129383 w 444989"/>
                <a:gd name="connsiteY1" fmla="*/ 0 h 369364"/>
                <a:gd name="connsiteX2" fmla="*/ 275428 w 444989"/>
                <a:gd name="connsiteY2" fmla="*/ 0 h 369364"/>
                <a:gd name="connsiteX3" fmla="*/ 397668 w 444989"/>
                <a:gd name="connsiteY3" fmla="*/ 91283 h 369364"/>
                <a:gd name="connsiteX4" fmla="*/ 411956 w 444989"/>
                <a:gd name="connsiteY4" fmla="*/ 348938 h 369364"/>
                <a:gd name="connsiteX5" fmla="*/ 275428 w 444989"/>
                <a:gd name="connsiteY5" fmla="*/ 337828 h 369364"/>
                <a:gd name="connsiteX6" fmla="*/ 129383 w 444989"/>
                <a:gd name="connsiteY6" fmla="*/ 337828 h 369364"/>
                <a:gd name="connsiteX7" fmla="*/ 35718 w 444989"/>
                <a:gd name="connsiteY7" fmla="*/ 244163 h 369364"/>
                <a:gd name="connsiteX8" fmla="*/ 0 w 444989"/>
                <a:gd name="connsiteY8" fmla="*/ 91284 h 369364"/>
                <a:gd name="connsiteX0" fmla="*/ 0 w 444989"/>
                <a:gd name="connsiteY0" fmla="*/ 91284 h 369364"/>
                <a:gd name="connsiteX1" fmla="*/ 129383 w 444989"/>
                <a:gd name="connsiteY1" fmla="*/ 0 h 369364"/>
                <a:gd name="connsiteX2" fmla="*/ 275428 w 444989"/>
                <a:gd name="connsiteY2" fmla="*/ 0 h 369364"/>
                <a:gd name="connsiteX3" fmla="*/ 397668 w 444989"/>
                <a:gd name="connsiteY3" fmla="*/ 91283 h 369364"/>
                <a:gd name="connsiteX4" fmla="*/ 411956 w 444989"/>
                <a:gd name="connsiteY4" fmla="*/ 348938 h 369364"/>
                <a:gd name="connsiteX5" fmla="*/ 275428 w 444989"/>
                <a:gd name="connsiteY5" fmla="*/ 337828 h 369364"/>
                <a:gd name="connsiteX6" fmla="*/ 129383 w 444989"/>
                <a:gd name="connsiteY6" fmla="*/ 337828 h 369364"/>
                <a:gd name="connsiteX7" fmla="*/ 35718 w 444989"/>
                <a:gd name="connsiteY7" fmla="*/ 244163 h 369364"/>
                <a:gd name="connsiteX8" fmla="*/ 0 w 444989"/>
                <a:gd name="connsiteY8" fmla="*/ 91284 h 369364"/>
                <a:gd name="connsiteX0" fmla="*/ 51 w 445040"/>
                <a:gd name="connsiteY0" fmla="*/ 91284 h 369364"/>
                <a:gd name="connsiteX1" fmla="*/ 129434 w 445040"/>
                <a:gd name="connsiteY1" fmla="*/ 0 h 369364"/>
                <a:gd name="connsiteX2" fmla="*/ 275479 w 445040"/>
                <a:gd name="connsiteY2" fmla="*/ 0 h 369364"/>
                <a:gd name="connsiteX3" fmla="*/ 397719 w 445040"/>
                <a:gd name="connsiteY3" fmla="*/ 91283 h 369364"/>
                <a:gd name="connsiteX4" fmla="*/ 412007 w 445040"/>
                <a:gd name="connsiteY4" fmla="*/ 348938 h 369364"/>
                <a:gd name="connsiteX5" fmla="*/ 275479 w 445040"/>
                <a:gd name="connsiteY5" fmla="*/ 337828 h 369364"/>
                <a:gd name="connsiteX6" fmla="*/ 129434 w 445040"/>
                <a:gd name="connsiteY6" fmla="*/ 337828 h 369364"/>
                <a:gd name="connsiteX7" fmla="*/ 35769 w 445040"/>
                <a:gd name="connsiteY7" fmla="*/ 244163 h 369364"/>
                <a:gd name="connsiteX8" fmla="*/ 51 w 445040"/>
                <a:gd name="connsiteY8" fmla="*/ 91284 h 369364"/>
                <a:gd name="connsiteX0" fmla="*/ 9526 w 454515"/>
                <a:gd name="connsiteY0" fmla="*/ 91284 h 373192"/>
                <a:gd name="connsiteX1" fmla="*/ 138909 w 454515"/>
                <a:gd name="connsiteY1" fmla="*/ 0 h 373192"/>
                <a:gd name="connsiteX2" fmla="*/ 284954 w 454515"/>
                <a:gd name="connsiteY2" fmla="*/ 0 h 373192"/>
                <a:gd name="connsiteX3" fmla="*/ 407194 w 454515"/>
                <a:gd name="connsiteY3" fmla="*/ 91283 h 373192"/>
                <a:gd name="connsiteX4" fmla="*/ 421482 w 454515"/>
                <a:gd name="connsiteY4" fmla="*/ 348938 h 373192"/>
                <a:gd name="connsiteX5" fmla="*/ 284954 w 454515"/>
                <a:gd name="connsiteY5" fmla="*/ 337828 h 373192"/>
                <a:gd name="connsiteX6" fmla="*/ 138909 w 454515"/>
                <a:gd name="connsiteY6" fmla="*/ 337828 h 373192"/>
                <a:gd name="connsiteX7" fmla="*/ 0 w 454515"/>
                <a:gd name="connsiteY7" fmla="*/ 353701 h 373192"/>
                <a:gd name="connsiteX8" fmla="*/ 9526 w 454515"/>
                <a:gd name="connsiteY8" fmla="*/ 91284 h 373192"/>
                <a:gd name="connsiteX0" fmla="*/ 49818 w 494807"/>
                <a:gd name="connsiteY0" fmla="*/ 91284 h 373192"/>
                <a:gd name="connsiteX1" fmla="*/ 179201 w 494807"/>
                <a:gd name="connsiteY1" fmla="*/ 0 h 373192"/>
                <a:gd name="connsiteX2" fmla="*/ 325246 w 494807"/>
                <a:gd name="connsiteY2" fmla="*/ 0 h 373192"/>
                <a:gd name="connsiteX3" fmla="*/ 447486 w 494807"/>
                <a:gd name="connsiteY3" fmla="*/ 91283 h 373192"/>
                <a:gd name="connsiteX4" fmla="*/ 461774 w 494807"/>
                <a:gd name="connsiteY4" fmla="*/ 348938 h 373192"/>
                <a:gd name="connsiteX5" fmla="*/ 325246 w 494807"/>
                <a:gd name="connsiteY5" fmla="*/ 337828 h 373192"/>
                <a:gd name="connsiteX6" fmla="*/ 179201 w 494807"/>
                <a:gd name="connsiteY6" fmla="*/ 337828 h 373192"/>
                <a:gd name="connsiteX7" fmla="*/ 40292 w 494807"/>
                <a:gd name="connsiteY7" fmla="*/ 353701 h 373192"/>
                <a:gd name="connsiteX8" fmla="*/ 49818 w 494807"/>
                <a:gd name="connsiteY8" fmla="*/ 91284 h 373192"/>
                <a:gd name="connsiteX0" fmla="*/ 43482 w 488471"/>
                <a:gd name="connsiteY0" fmla="*/ 91284 h 373192"/>
                <a:gd name="connsiteX1" fmla="*/ 172865 w 488471"/>
                <a:gd name="connsiteY1" fmla="*/ 0 h 373192"/>
                <a:gd name="connsiteX2" fmla="*/ 318910 w 488471"/>
                <a:gd name="connsiteY2" fmla="*/ 0 h 373192"/>
                <a:gd name="connsiteX3" fmla="*/ 441150 w 488471"/>
                <a:gd name="connsiteY3" fmla="*/ 91283 h 373192"/>
                <a:gd name="connsiteX4" fmla="*/ 455438 w 488471"/>
                <a:gd name="connsiteY4" fmla="*/ 348938 h 373192"/>
                <a:gd name="connsiteX5" fmla="*/ 318910 w 488471"/>
                <a:gd name="connsiteY5" fmla="*/ 337828 h 373192"/>
                <a:gd name="connsiteX6" fmla="*/ 172865 w 488471"/>
                <a:gd name="connsiteY6" fmla="*/ 337828 h 373192"/>
                <a:gd name="connsiteX7" fmla="*/ 33956 w 488471"/>
                <a:gd name="connsiteY7" fmla="*/ 353701 h 373192"/>
                <a:gd name="connsiteX8" fmla="*/ 43482 w 488471"/>
                <a:gd name="connsiteY8" fmla="*/ 91284 h 373192"/>
                <a:gd name="connsiteX0" fmla="*/ 47717 w 492706"/>
                <a:gd name="connsiteY0" fmla="*/ 91284 h 373192"/>
                <a:gd name="connsiteX1" fmla="*/ 177100 w 492706"/>
                <a:gd name="connsiteY1" fmla="*/ 0 h 373192"/>
                <a:gd name="connsiteX2" fmla="*/ 323145 w 492706"/>
                <a:gd name="connsiteY2" fmla="*/ 0 h 373192"/>
                <a:gd name="connsiteX3" fmla="*/ 445385 w 492706"/>
                <a:gd name="connsiteY3" fmla="*/ 91283 h 373192"/>
                <a:gd name="connsiteX4" fmla="*/ 459673 w 492706"/>
                <a:gd name="connsiteY4" fmla="*/ 348938 h 373192"/>
                <a:gd name="connsiteX5" fmla="*/ 323145 w 492706"/>
                <a:gd name="connsiteY5" fmla="*/ 337828 h 373192"/>
                <a:gd name="connsiteX6" fmla="*/ 177100 w 492706"/>
                <a:gd name="connsiteY6" fmla="*/ 337828 h 373192"/>
                <a:gd name="connsiteX7" fmla="*/ 38191 w 492706"/>
                <a:gd name="connsiteY7" fmla="*/ 353701 h 373192"/>
                <a:gd name="connsiteX8" fmla="*/ 47717 w 492706"/>
                <a:gd name="connsiteY8" fmla="*/ 91284 h 373192"/>
                <a:gd name="connsiteX0" fmla="*/ 46590 w 491579"/>
                <a:gd name="connsiteY0" fmla="*/ 91284 h 373192"/>
                <a:gd name="connsiteX1" fmla="*/ 175973 w 491579"/>
                <a:gd name="connsiteY1" fmla="*/ 0 h 373192"/>
                <a:gd name="connsiteX2" fmla="*/ 322018 w 491579"/>
                <a:gd name="connsiteY2" fmla="*/ 0 h 373192"/>
                <a:gd name="connsiteX3" fmla="*/ 444258 w 491579"/>
                <a:gd name="connsiteY3" fmla="*/ 91283 h 373192"/>
                <a:gd name="connsiteX4" fmla="*/ 458546 w 491579"/>
                <a:gd name="connsiteY4" fmla="*/ 348938 h 373192"/>
                <a:gd name="connsiteX5" fmla="*/ 322018 w 491579"/>
                <a:gd name="connsiteY5" fmla="*/ 337828 h 373192"/>
                <a:gd name="connsiteX6" fmla="*/ 175973 w 491579"/>
                <a:gd name="connsiteY6" fmla="*/ 337828 h 373192"/>
                <a:gd name="connsiteX7" fmla="*/ 37064 w 491579"/>
                <a:gd name="connsiteY7" fmla="*/ 353701 h 373192"/>
                <a:gd name="connsiteX8" fmla="*/ 46590 w 491579"/>
                <a:gd name="connsiteY8" fmla="*/ 91284 h 373192"/>
                <a:gd name="connsiteX0" fmla="*/ 46590 w 491579"/>
                <a:gd name="connsiteY0" fmla="*/ 91284 h 378227"/>
                <a:gd name="connsiteX1" fmla="*/ 175973 w 491579"/>
                <a:gd name="connsiteY1" fmla="*/ 0 h 378227"/>
                <a:gd name="connsiteX2" fmla="*/ 322018 w 491579"/>
                <a:gd name="connsiteY2" fmla="*/ 0 h 378227"/>
                <a:gd name="connsiteX3" fmla="*/ 444258 w 491579"/>
                <a:gd name="connsiteY3" fmla="*/ 91283 h 378227"/>
                <a:gd name="connsiteX4" fmla="*/ 458546 w 491579"/>
                <a:gd name="connsiteY4" fmla="*/ 348938 h 378227"/>
                <a:gd name="connsiteX5" fmla="*/ 322018 w 491579"/>
                <a:gd name="connsiteY5" fmla="*/ 337828 h 378227"/>
                <a:gd name="connsiteX6" fmla="*/ 111679 w 491579"/>
                <a:gd name="connsiteY6" fmla="*/ 359259 h 378227"/>
                <a:gd name="connsiteX7" fmla="*/ 37064 w 491579"/>
                <a:gd name="connsiteY7" fmla="*/ 353701 h 378227"/>
                <a:gd name="connsiteX8" fmla="*/ 46590 w 491579"/>
                <a:gd name="connsiteY8" fmla="*/ 91284 h 378227"/>
                <a:gd name="connsiteX0" fmla="*/ 46590 w 491579"/>
                <a:gd name="connsiteY0" fmla="*/ 91284 h 378227"/>
                <a:gd name="connsiteX1" fmla="*/ 175973 w 491579"/>
                <a:gd name="connsiteY1" fmla="*/ 0 h 378227"/>
                <a:gd name="connsiteX2" fmla="*/ 322018 w 491579"/>
                <a:gd name="connsiteY2" fmla="*/ 0 h 378227"/>
                <a:gd name="connsiteX3" fmla="*/ 444258 w 491579"/>
                <a:gd name="connsiteY3" fmla="*/ 91283 h 378227"/>
                <a:gd name="connsiteX4" fmla="*/ 458546 w 491579"/>
                <a:gd name="connsiteY4" fmla="*/ 348938 h 378227"/>
                <a:gd name="connsiteX5" fmla="*/ 372025 w 491579"/>
                <a:gd name="connsiteY5" fmla="*/ 359259 h 378227"/>
                <a:gd name="connsiteX6" fmla="*/ 111679 w 491579"/>
                <a:gd name="connsiteY6" fmla="*/ 359259 h 378227"/>
                <a:gd name="connsiteX7" fmla="*/ 37064 w 491579"/>
                <a:gd name="connsiteY7" fmla="*/ 353701 h 378227"/>
                <a:gd name="connsiteX8" fmla="*/ 46590 w 491579"/>
                <a:gd name="connsiteY8" fmla="*/ 91284 h 378227"/>
                <a:gd name="connsiteX0" fmla="*/ 39838 w 484827"/>
                <a:gd name="connsiteY0" fmla="*/ 91284 h 390796"/>
                <a:gd name="connsiteX1" fmla="*/ 169221 w 484827"/>
                <a:gd name="connsiteY1" fmla="*/ 0 h 390796"/>
                <a:gd name="connsiteX2" fmla="*/ 315266 w 484827"/>
                <a:gd name="connsiteY2" fmla="*/ 0 h 390796"/>
                <a:gd name="connsiteX3" fmla="*/ 437506 w 484827"/>
                <a:gd name="connsiteY3" fmla="*/ 91283 h 390796"/>
                <a:gd name="connsiteX4" fmla="*/ 451794 w 484827"/>
                <a:gd name="connsiteY4" fmla="*/ 348938 h 390796"/>
                <a:gd name="connsiteX5" fmla="*/ 365273 w 484827"/>
                <a:gd name="connsiteY5" fmla="*/ 359259 h 390796"/>
                <a:gd name="connsiteX6" fmla="*/ 104927 w 484827"/>
                <a:gd name="connsiteY6" fmla="*/ 359259 h 390796"/>
                <a:gd name="connsiteX7" fmla="*/ 39837 w 484827"/>
                <a:gd name="connsiteY7" fmla="*/ 370370 h 390796"/>
                <a:gd name="connsiteX8" fmla="*/ 39838 w 484827"/>
                <a:gd name="connsiteY8" fmla="*/ 91284 h 390796"/>
                <a:gd name="connsiteX0" fmla="*/ 44035 w 489024"/>
                <a:gd name="connsiteY0" fmla="*/ 91284 h 390796"/>
                <a:gd name="connsiteX1" fmla="*/ 173418 w 489024"/>
                <a:gd name="connsiteY1" fmla="*/ 0 h 390796"/>
                <a:gd name="connsiteX2" fmla="*/ 319463 w 489024"/>
                <a:gd name="connsiteY2" fmla="*/ 0 h 390796"/>
                <a:gd name="connsiteX3" fmla="*/ 441703 w 489024"/>
                <a:gd name="connsiteY3" fmla="*/ 91283 h 390796"/>
                <a:gd name="connsiteX4" fmla="*/ 455991 w 489024"/>
                <a:gd name="connsiteY4" fmla="*/ 348938 h 390796"/>
                <a:gd name="connsiteX5" fmla="*/ 369470 w 489024"/>
                <a:gd name="connsiteY5" fmla="*/ 359259 h 390796"/>
                <a:gd name="connsiteX6" fmla="*/ 109124 w 489024"/>
                <a:gd name="connsiteY6" fmla="*/ 359259 h 390796"/>
                <a:gd name="connsiteX7" fmla="*/ 44034 w 489024"/>
                <a:gd name="connsiteY7" fmla="*/ 370370 h 390796"/>
                <a:gd name="connsiteX8" fmla="*/ 44035 w 489024"/>
                <a:gd name="connsiteY8" fmla="*/ 91284 h 390796"/>
                <a:gd name="connsiteX0" fmla="*/ 42394 w 487383"/>
                <a:gd name="connsiteY0" fmla="*/ 91284 h 376566"/>
                <a:gd name="connsiteX1" fmla="*/ 171777 w 487383"/>
                <a:gd name="connsiteY1" fmla="*/ 0 h 376566"/>
                <a:gd name="connsiteX2" fmla="*/ 317822 w 487383"/>
                <a:gd name="connsiteY2" fmla="*/ 0 h 376566"/>
                <a:gd name="connsiteX3" fmla="*/ 440062 w 487383"/>
                <a:gd name="connsiteY3" fmla="*/ 91283 h 376566"/>
                <a:gd name="connsiteX4" fmla="*/ 454350 w 487383"/>
                <a:gd name="connsiteY4" fmla="*/ 348938 h 376566"/>
                <a:gd name="connsiteX5" fmla="*/ 367829 w 487383"/>
                <a:gd name="connsiteY5" fmla="*/ 359259 h 376566"/>
                <a:gd name="connsiteX6" fmla="*/ 107483 w 487383"/>
                <a:gd name="connsiteY6" fmla="*/ 359259 h 376566"/>
                <a:gd name="connsiteX7" fmla="*/ 44774 w 487383"/>
                <a:gd name="connsiteY7" fmla="*/ 351320 h 376566"/>
                <a:gd name="connsiteX8" fmla="*/ 42394 w 487383"/>
                <a:gd name="connsiteY8" fmla="*/ 91284 h 376566"/>
                <a:gd name="connsiteX0" fmla="*/ 42394 w 487383"/>
                <a:gd name="connsiteY0" fmla="*/ 91284 h 374947"/>
                <a:gd name="connsiteX1" fmla="*/ 171777 w 487383"/>
                <a:gd name="connsiteY1" fmla="*/ 0 h 374947"/>
                <a:gd name="connsiteX2" fmla="*/ 317822 w 487383"/>
                <a:gd name="connsiteY2" fmla="*/ 0 h 374947"/>
                <a:gd name="connsiteX3" fmla="*/ 440062 w 487383"/>
                <a:gd name="connsiteY3" fmla="*/ 91283 h 374947"/>
                <a:gd name="connsiteX4" fmla="*/ 454350 w 487383"/>
                <a:gd name="connsiteY4" fmla="*/ 348938 h 374947"/>
                <a:gd name="connsiteX5" fmla="*/ 367829 w 487383"/>
                <a:gd name="connsiteY5" fmla="*/ 359259 h 374947"/>
                <a:gd name="connsiteX6" fmla="*/ 107483 w 487383"/>
                <a:gd name="connsiteY6" fmla="*/ 359259 h 374947"/>
                <a:gd name="connsiteX7" fmla="*/ 44774 w 487383"/>
                <a:gd name="connsiteY7" fmla="*/ 351320 h 374947"/>
                <a:gd name="connsiteX8" fmla="*/ 42394 w 487383"/>
                <a:gd name="connsiteY8" fmla="*/ 91284 h 374947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48938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48938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63225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63225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63225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63225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5809" h="377445">
                  <a:moveTo>
                    <a:pt x="50820" y="91284"/>
                  </a:moveTo>
                  <a:cubicBezTo>
                    <a:pt x="107970" y="8598"/>
                    <a:pt x="128473" y="0"/>
                    <a:pt x="180203" y="0"/>
                  </a:cubicBezTo>
                  <a:lnTo>
                    <a:pt x="326248" y="0"/>
                  </a:lnTo>
                  <a:cubicBezTo>
                    <a:pt x="377978" y="0"/>
                    <a:pt x="400864" y="1453"/>
                    <a:pt x="448488" y="91283"/>
                  </a:cubicBezTo>
                  <a:cubicBezTo>
                    <a:pt x="491350" y="146211"/>
                    <a:pt x="522307" y="291627"/>
                    <a:pt x="462776" y="363225"/>
                  </a:cubicBezTo>
                  <a:cubicBezTo>
                    <a:pt x="417532" y="386380"/>
                    <a:pt x="427985" y="359259"/>
                    <a:pt x="376255" y="359259"/>
                  </a:cubicBezTo>
                  <a:lnTo>
                    <a:pt x="115909" y="359259"/>
                  </a:lnTo>
                  <a:cubicBezTo>
                    <a:pt x="64179" y="359259"/>
                    <a:pt x="65106" y="393524"/>
                    <a:pt x="41294" y="367988"/>
                  </a:cubicBezTo>
                  <a:cubicBezTo>
                    <a:pt x="-48399" y="275755"/>
                    <a:pt x="33358" y="121607"/>
                    <a:pt x="50820" y="91284"/>
                  </a:cubicBez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ounded Rectangle 32">
              <a:extLst>
                <a:ext uri="{FF2B5EF4-FFF2-40B4-BE49-F238E27FC236}">
                  <a16:creationId xmlns:a16="http://schemas.microsoft.com/office/drawing/2014/main" id="{AB2942F0-8AC1-480B-B9B0-D69B8DF52273}"/>
                </a:ext>
              </a:extLst>
            </p:cNvPr>
            <p:cNvSpPr/>
            <p:nvPr/>
          </p:nvSpPr>
          <p:spPr>
            <a:xfrm>
              <a:off x="3342293" y="1973894"/>
              <a:ext cx="250663" cy="286495"/>
            </a:xfrm>
            <a:prstGeom prst="round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ounded Rectangle 33">
              <a:extLst>
                <a:ext uri="{FF2B5EF4-FFF2-40B4-BE49-F238E27FC236}">
                  <a16:creationId xmlns:a16="http://schemas.microsoft.com/office/drawing/2014/main" id="{CDCB6CF3-14CA-4E09-AC56-D307E4315707}"/>
                </a:ext>
              </a:extLst>
            </p:cNvPr>
            <p:cNvSpPr/>
            <p:nvPr/>
          </p:nvSpPr>
          <p:spPr>
            <a:xfrm>
              <a:off x="2303328" y="1960474"/>
              <a:ext cx="250663" cy="286495"/>
            </a:xfrm>
            <a:prstGeom prst="round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8">
              <a:extLst>
                <a:ext uri="{FF2B5EF4-FFF2-40B4-BE49-F238E27FC236}">
                  <a16:creationId xmlns:a16="http://schemas.microsoft.com/office/drawing/2014/main" id="{EA83E3D9-35EC-473F-AF8B-F6E833265035}"/>
                </a:ext>
              </a:extLst>
            </p:cNvPr>
            <p:cNvSpPr/>
            <p:nvPr/>
          </p:nvSpPr>
          <p:spPr>
            <a:xfrm>
              <a:off x="3567737" y="1363343"/>
              <a:ext cx="271633" cy="174444"/>
            </a:xfrm>
            <a:custGeom>
              <a:avLst/>
              <a:gdLst>
                <a:gd name="connsiteX0" fmla="*/ 0 w 96002"/>
                <a:gd name="connsiteY0" fmla="*/ 0 h 59531"/>
                <a:gd name="connsiteX1" fmla="*/ 96002 w 96002"/>
                <a:gd name="connsiteY1" fmla="*/ 0 h 59531"/>
                <a:gd name="connsiteX2" fmla="*/ 96002 w 96002"/>
                <a:gd name="connsiteY2" fmla="*/ 59531 h 59531"/>
                <a:gd name="connsiteX3" fmla="*/ 0 w 96002"/>
                <a:gd name="connsiteY3" fmla="*/ 59531 h 59531"/>
                <a:gd name="connsiteX4" fmla="*/ 0 w 96002"/>
                <a:gd name="connsiteY4" fmla="*/ 0 h 59531"/>
                <a:gd name="connsiteX0" fmla="*/ 0 w 96002"/>
                <a:gd name="connsiteY0" fmla="*/ 2381 h 61912"/>
                <a:gd name="connsiteX1" fmla="*/ 67427 w 96002"/>
                <a:gd name="connsiteY1" fmla="*/ 0 h 61912"/>
                <a:gd name="connsiteX2" fmla="*/ 96002 w 96002"/>
                <a:gd name="connsiteY2" fmla="*/ 61912 h 61912"/>
                <a:gd name="connsiteX3" fmla="*/ 0 w 96002"/>
                <a:gd name="connsiteY3" fmla="*/ 61912 h 61912"/>
                <a:gd name="connsiteX4" fmla="*/ 0 w 96002"/>
                <a:gd name="connsiteY4" fmla="*/ 2381 h 61912"/>
                <a:gd name="connsiteX0" fmla="*/ 0 w 96002"/>
                <a:gd name="connsiteY0" fmla="*/ 0 h 59531"/>
                <a:gd name="connsiteX1" fmla="*/ 48377 w 96002"/>
                <a:gd name="connsiteY1" fmla="*/ 30957 h 59531"/>
                <a:gd name="connsiteX2" fmla="*/ 96002 w 96002"/>
                <a:gd name="connsiteY2" fmla="*/ 59531 h 59531"/>
                <a:gd name="connsiteX3" fmla="*/ 0 w 96002"/>
                <a:gd name="connsiteY3" fmla="*/ 59531 h 59531"/>
                <a:gd name="connsiteX4" fmla="*/ 0 w 96002"/>
                <a:gd name="connsiteY4" fmla="*/ 0 h 59531"/>
                <a:gd name="connsiteX0" fmla="*/ 0 w 96002"/>
                <a:gd name="connsiteY0" fmla="*/ 2381 h 61912"/>
                <a:gd name="connsiteX1" fmla="*/ 60283 w 96002"/>
                <a:gd name="connsiteY1" fmla="*/ 0 h 61912"/>
                <a:gd name="connsiteX2" fmla="*/ 96002 w 96002"/>
                <a:gd name="connsiteY2" fmla="*/ 61912 h 61912"/>
                <a:gd name="connsiteX3" fmla="*/ 0 w 96002"/>
                <a:gd name="connsiteY3" fmla="*/ 61912 h 61912"/>
                <a:gd name="connsiteX4" fmla="*/ 0 w 96002"/>
                <a:gd name="connsiteY4" fmla="*/ 2381 h 61912"/>
                <a:gd name="connsiteX0" fmla="*/ 0 w 60283"/>
                <a:gd name="connsiteY0" fmla="*/ 2381 h 61912"/>
                <a:gd name="connsiteX1" fmla="*/ 60283 w 60283"/>
                <a:gd name="connsiteY1" fmla="*/ 0 h 61912"/>
                <a:gd name="connsiteX2" fmla="*/ 31709 w 60283"/>
                <a:gd name="connsiteY2" fmla="*/ 42862 h 61912"/>
                <a:gd name="connsiteX3" fmla="*/ 0 w 60283"/>
                <a:gd name="connsiteY3" fmla="*/ 61912 h 61912"/>
                <a:gd name="connsiteX4" fmla="*/ 0 w 60283"/>
                <a:gd name="connsiteY4" fmla="*/ 2381 h 61912"/>
                <a:gd name="connsiteX0" fmla="*/ 0 w 79334"/>
                <a:gd name="connsiteY0" fmla="*/ 2381 h 61912"/>
                <a:gd name="connsiteX1" fmla="*/ 60283 w 79334"/>
                <a:gd name="connsiteY1" fmla="*/ 0 h 61912"/>
                <a:gd name="connsiteX2" fmla="*/ 79334 w 79334"/>
                <a:gd name="connsiteY2" fmla="*/ 59531 h 61912"/>
                <a:gd name="connsiteX3" fmla="*/ 0 w 79334"/>
                <a:gd name="connsiteY3" fmla="*/ 61912 h 61912"/>
                <a:gd name="connsiteX4" fmla="*/ 0 w 79334"/>
                <a:gd name="connsiteY4" fmla="*/ 2381 h 61912"/>
                <a:gd name="connsiteX0" fmla="*/ 0 w 82505"/>
                <a:gd name="connsiteY0" fmla="*/ 2381 h 61912"/>
                <a:gd name="connsiteX1" fmla="*/ 60283 w 82505"/>
                <a:gd name="connsiteY1" fmla="*/ 0 h 61912"/>
                <a:gd name="connsiteX2" fmla="*/ 79334 w 82505"/>
                <a:gd name="connsiteY2" fmla="*/ 59531 h 61912"/>
                <a:gd name="connsiteX3" fmla="*/ 0 w 82505"/>
                <a:gd name="connsiteY3" fmla="*/ 61912 h 61912"/>
                <a:gd name="connsiteX4" fmla="*/ 0 w 82505"/>
                <a:gd name="connsiteY4" fmla="*/ 2381 h 61912"/>
                <a:gd name="connsiteX0" fmla="*/ 0 w 83475"/>
                <a:gd name="connsiteY0" fmla="*/ 2381 h 61912"/>
                <a:gd name="connsiteX1" fmla="*/ 60283 w 83475"/>
                <a:gd name="connsiteY1" fmla="*/ 0 h 61912"/>
                <a:gd name="connsiteX2" fmla="*/ 79334 w 83475"/>
                <a:gd name="connsiteY2" fmla="*/ 59531 h 61912"/>
                <a:gd name="connsiteX3" fmla="*/ 0 w 83475"/>
                <a:gd name="connsiteY3" fmla="*/ 61912 h 61912"/>
                <a:gd name="connsiteX4" fmla="*/ 0 w 83475"/>
                <a:gd name="connsiteY4" fmla="*/ 2381 h 61912"/>
                <a:gd name="connsiteX0" fmla="*/ 0 w 85004"/>
                <a:gd name="connsiteY0" fmla="*/ 2381 h 61912"/>
                <a:gd name="connsiteX1" fmla="*/ 60283 w 85004"/>
                <a:gd name="connsiteY1" fmla="*/ 0 h 61912"/>
                <a:gd name="connsiteX2" fmla="*/ 79334 w 85004"/>
                <a:gd name="connsiteY2" fmla="*/ 59531 h 61912"/>
                <a:gd name="connsiteX3" fmla="*/ 0 w 85004"/>
                <a:gd name="connsiteY3" fmla="*/ 61912 h 61912"/>
                <a:gd name="connsiteX4" fmla="*/ 0 w 85004"/>
                <a:gd name="connsiteY4" fmla="*/ 2381 h 61912"/>
                <a:gd name="connsiteX0" fmla="*/ 0 w 87385"/>
                <a:gd name="connsiteY0" fmla="*/ 2381 h 61912"/>
                <a:gd name="connsiteX1" fmla="*/ 62664 w 87385"/>
                <a:gd name="connsiteY1" fmla="*/ 0 h 61912"/>
                <a:gd name="connsiteX2" fmla="*/ 81715 w 87385"/>
                <a:gd name="connsiteY2" fmla="*/ 59531 h 61912"/>
                <a:gd name="connsiteX3" fmla="*/ 2381 w 87385"/>
                <a:gd name="connsiteY3" fmla="*/ 61912 h 61912"/>
                <a:gd name="connsiteX4" fmla="*/ 0 w 87385"/>
                <a:gd name="connsiteY4" fmla="*/ 2381 h 61912"/>
                <a:gd name="connsiteX0" fmla="*/ 0 w 89766"/>
                <a:gd name="connsiteY0" fmla="*/ 0 h 61913"/>
                <a:gd name="connsiteX1" fmla="*/ 65045 w 89766"/>
                <a:gd name="connsiteY1" fmla="*/ 1 h 61913"/>
                <a:gd name="connsiteX2" fmla="*/ 84096 w 89766"/>
                <a:gd name="connsiteY2" fmla="*/ 59532 h 61913"/>
                <a:gd name="connsiteX3" fmla="*/ 4762 w 89766"/>
                <a:gd name="connsiteY3" fmla="*/ 61913 h 61913"/>
                <a:gd name="connsiteX4" fmla="*/ 0 w 89766"/>
                <a:gd name="connsiteY4" fmla="*/ 0 h 61913"/>
                <a:gd name="connsiteX0" fmla="*/ 0 w 89766"/>
                <a:gd name="connsiteY0" fmla="*/ 0 h 61913"/>
                <a:gd name="connsiteX1" fmla="*/ 65045 w 89766"/>
                <a:gd name="connsiteY1" fmla="*/ 1 h 61913"/>
                <a:gd name="connsiteX2" fmla="*/ 84096 w 89766"/>
                <a:gd name="connsiteY2" fmla="*/ 59532 h 61913"/>
                <a:gd name="connsiteX3" fmla="*/ 4762 w 89766"/>
                <a:gd name="connsiteY3" fmla="*/ 61913 h 61913"/>
                <a:gd name="connsiteX4" fmla="*/ 0 w 89766"/>
                <a:gd name="connsiteY4" fmla="*/ 0 h 61913"/>
                <a:gd name="connsiteX0" fmla="*/ 0 w 79507"/>
                <a:gd name="connsiteY0" fmla="*/ 0 h 61913"/>
                <a:gd name="connsiteX1" fmla="*/ 65045 w 79507"/>
                <a:gd name="connsiteY1" fmla="*/ 1 h 61913"/>
                <a:gd name="connsiteX2" fmla="*/ 67428 w 79507"/>
                <a:gd name="connsiteY2" fmla="*/ 59532 h 61913"/>
                <a:gd name="connsiteX3" fmla="*/ 4762 w 79507"/>
                <a:gd name="connsiteY3" fmla="*/ 61913 h 61913"/>
                <a:gd name="connsiteX4" fmla="*/ 0 w 79507"/>
                <a:gd name="connsiteY4" fmla="*/ 0 h 61913"/>
                <a:gd name="connsiteX0" fmla="*/ 0 w 89872"/>
                <a:gd name="connsiteY0" fmla="*/ 0 h 61913"/>
                <a:gd name="connsiteX1" fmla="*/ 65045 w 89872"/>
                <a:gd name="connsiteY1" fmla="*/ 1 h 61913"/>
                <a:gd name="connsiteX2" fmla="*/ 67428 w 89872"/>
                <a:gd name="connsiteY2" fmla="*/ 59532 h 61913"/>
                <a:gd name="connsiteX3" fmla="*/ 4762 w 89872"/>
                <a:gd name="connsiteY3" fmla="*/ 61913 h 61913"/>
                <a:gd name="connsiteX4" fmla="*/ 0 w 89872"/>
                <a:gd name="connsiteY4" fmla="*/ 0 h 6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872" h="61913">
                  <a:moveTo>
                    <a:pt x="0" y="0"/>
                  </a:moveTo>
                  <a:lnTo>
                    <a:pt x="65045" y="1"/>
                  </a:lnTo>
                  <a:cubicBezTo>
                    <a:pt x="87792" y="9526"/>
                    <a:pt x="106050" y="56358"/>
                    <a:pt x="67428" y="59532"/>
                  </a:cubicBezTo>
                  <a:lnTo>
                    <a:pt x="4762" y="61913"/>
                  </a:lnTo>
                  <a:cubicBezTo>
                    <a:pt x="3968" y="42069"/>
                    <a:pt x="794" y="19844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8">
              <a:extLst>
                <a:ext uri="{FF2B5EF4-FFF2-40B4-BE49-F238E27FC236}">
                  <a16:creationId xmlns:a16="http://schemas.microsoft.com/office/drawing/2014/main" id="{238F4271-82E9-4B57-B00D-53A76E3F7A1B}"/>
                </a:ext>
              </a:extLst>
            </p:cNvPr>
            <p:cNvSpPr/>
            <p:nvPr/>
          </p:nvSpPr>
          <p:spPr>
            <a:xfrm flipH="1">
              <a:off x="2058634" y="1363343"/>
              <a:ext cx="271633" cy="174444"/>
            </a:xfrm>
            <a:custGeom>
              <a:avLst/>
              <a:gdLst>
                <a:gd name="connsiteX0" fmla="*/ 0 w 96002"/>
                <a:gd name="connsiteY0" fmla="*/ 0 h 59531"/>
                <a:gd name="connsiteX1" fmla="*/ 96002 w 96002"/>
                <a:gd name="connsiteY1" fmla="*/ 0 h 59531"/>
                <a:gd name="connsiteX2" fmla="*/ 96002 w 96002"/>
                <a:gd name="connsiteY2" fmla="*/ 59531 h 59531"/>
                <a:gd name="connsiteX3" fmla="*/ 0 w 96002"/>
                <a:gd name="connsiteY3" fmla="*/ 59531 h 59531"/>
                <a:gd name="connsiteX4" fmla="*/ 0 w 96002"/>
                <a:gd name="connsiteY4" fmla="*/ 0 h 59531"/>
                <a:gd name="connsiteX0" fmla="*/ 0 w 96002"/>
                <a:gd name="connsiteY0" fmla="*/ 2381 h 61912"/>
                <a:gd name="connsiteX1" fmla="*/ 67427 w 96002"/>
                <a:gd name="connsiteY1" fmla="*/ 0 h 61912"/>
                <a:gd name="connsiteX2" fmla="*/ 96002 w 96002"/>
                <a:gd name="connsiteY2" fmla="*/ 61912 h 61912"/>
                <a:gd name="connsiteX3" fmla="*/ 0 w 96002"/>
                <a:gd name="connsiteY3" fmla="*/ 61912 h 61912"/>
                <a:gd name="connsiteX4" fmla="*/ 0 w 96002"/>
                <a:gd name="connsiteY4" fmla="*/ 2381 h 61912"/>
                <a:gd name="connsiteX0" fmla="*/ 0 w 96002"/>
                <a:gd name="connsiteY0" fmla="*/ 0 h 59531"/>
                <a:gd name="connsiteX1" fmla="*/ 48377 w 96002"/>
                <a:gd name="connsiteY1" fmla="*/ 30957 h 59531"/>
                <a:gd name="connsiteX2" fmla="*/ 96002 w 96002"/>
                <a:gd name="connsiteY2" fmla="*/ 59531 h 59531"/>
                <a:gd name="connsiteX3" fmla="*/ 0 w 96002"/>
                <a:gd name="connsiteY3" fmla="*/ 59531 h 59531"/>
                <a:gd name="connsiteX4" fmla="*/ 0 w 96002"/>
                <a:gd name="connsiteY4" fmla="*/ 0 h 59531"/>
                <a:gd name="connsiteX0" fmla="*/ 0 w 96002"/>
                <a:gd name="connsiteY0" fmla="*/ 2381 h 61912"/>
                <a:gd name="connsiteX1" fmla="*/ 60283 w 96002"/>
                <a:gd name="connsiteY1" fmla="*/ 0 h 61912"/>
                <a:gd name="connsiteX2" fmla="*/ 96002 w 96002"/>
                <a:gd name="connsiteY2" fmla="*/ 61912 h 61912"/>
                <a:gd name="connsiteX3" fmla="*/ 0 w 96002"/>
                <a:gd name="connsiteY3" fmla="*/ 61912 h 61912"/>
                <a:gd name="connsiteX4" fmla="*/ 0 w 96002"/>
                <a:gd name="connsiteY4" fmla="*/ 2381 h 61912"/>
                <a:gd name="connsiteX0" fmla="*/ 0 w 60283"/>
                <a:gd name="connsiteY0" fmla="*/ 2381 h 61912"/>
                <a:gd name="connsiteX1" fmla="*/ 60283 w 60283"/>
                <a:gd name="connsiteY1" fmla="*/ 0 h 61912"/>
                <a:gd name="connsiteX2" fmla="*/ 31709 w 60283"/>
                <a:gd name="connsiteY2" fmla="*/ 42862 h 61912"/>
                <a:gd name="connsiteX3" fmla="*/ 0 w 60283"/>
                <a:gd name="connsiteY3" fmla="*/ 61912 h 61912"/>
                <a:gd name="connsiteX4" fmla="*/ 0 w 60283"/>
                <a:gd name="connsiteY4" fmla="*/ 2381 h 61912"/>
                <a:gd name="connsiteX0" fmla="*/ 0 w 79334"/>
                <a:gd name="connsiteY0" fmla="*/ 2381 h 61912"/>
                <a:gd name="connsiteX1" fmla="*/ 60283 w 79334"/>
                <a:gd name="connsiteY1" fmla="*/ 0 h 61912"/>
                <a:gd name="connsiteX2" fmla="*/ 79334 w 79334"/>
                <a:gd name="connsiteY2" fmla="*/ 59531 h 61912"/>
                <a:gd name="connsiteX3" fmla="*/ 0 w 79334"/>
                <a:gd name="connsiteY3" fmla="*/ 61912 h 61912"/>
                <a:gd name="connsiteX4" fmla="*/ 0 w 79334"/>
                <a:gd name="connsiteY4" fmla="*/ 2381 h 61912"/>
                <a:gd name="connsiteX0" fmla="*/ 0 w 82505"/>
                <a:gd name="connsiteY0" fmla="*/ 2381 h 61912"/>
                <a:gd name="connsiteX1" fmla="*/ 60283 w 82505"/>
                <a:gd name="connsiteY1" fmla="*/ 0 h 61912"/>
                <a:gd name="connsiteX2" fmla="*/ 79334 w 82505"/>
                <a:gd name="connsiteY2" fmla="*/ 59531 h 61912"/>
                <a:gd name="connsiteX3" fmla="*/ 0 w 82505"/>
                <a:gd name="connsiteY3" fmla="*/ 61912 h 61912"/>
                <a:gd name="connsiteX4" fmla="*/ 0 w 82505"/>
                <a:gd name="connsiteY4" fmla="*/ 2381 h 61912"/>
                <a:gd name="connsiteX0" fmla="*/ 0 w 83475"/>
                <a:gd name="connsiteY0" fmla="*/ 2381 h 61912"/>
                <a:gd name="connsiteX1" fmla="*/ 60283 w 83475"/>
                <a:gd name="connsiteY1" fmla="*/ 0 h 61912"/>
                <a:gd name="connsiteX2" fmla="*/ 79334 w 83475"/>
                <a:gd name="connsiteY2" fmla="*/ 59531 h 61912"/>
                <a:gd name="connsiteX3" fmla="*/ 0 w 83475"/>
                <a:gd name="connsiteY3" fmla="*/ 61912 h 61912"/>
                <a:gd name="connsiteX4" fmla="*/ 0 w 83475"/>
                <a:gd name="connsiteY4" fmla="*/ 2381 h 61912"/>
                <a:gd name="connsiteX0" fmla="*/ 0 w 85004"/>
                <a:gd name="connsiteY0" fmla="*/ 2381 h 61912"/>
                <a:gd name="connsiteX1" fmla="*/ 60283 w 85004"/>
                <a:gd name="connsiteY1" fmla="*/ 0 h 61912"/>
                <a:gd name="connsiteX2" fmla="*/ 79334 w 85004"/>
                <a:gd name="connsiteY2" fmla="*/ 59531 h 61912"/>
                <a:gd name="connsiteX3" fmla="*/ 0 w 85004"/>
                <a:gd name="connsiteY3" fmla="*/ 61912 h 61912"/>
                <a:gd name="connsiteX4" fmla="*/ 0 w 85004"/>
                <a:gd name="connsiteY4" fmla="*/ 2381 h 61912"/>
                <a:gd name="connsiteX0" fmla="*/ 0 w 87385"/>
                <a:gd name="connsiteY0" fmla="*/ 2381 h 61912"/>
                <a:gd name="connsiteX1" fmla="*/ 62664 w 87385"/>
                <a:gd name="connsiteY1" fmla="*/ 0 h 61912"/>
                <a:gd name="connsiteX2" fmla="*/ 81715 w 87385"/>
                <a:gd name="connsiteY2" fmla="*/ 59531 h 61912"/>
                <a:gd name="connsiteX3" fmla="*/ 2381 w 87385"/>
                <a:gd name="connsiteY3" fmla="*/ 61912 h 61912"/>
                <a:gd name="connsiteX4" fmla="*/ 0 w 87385"/>
                <a:gd name="connsiteY4" fmla="*/ 2381 h 61912"/>
                <a:gd name="connsiteX0" fmla="*/ 0 w 89766"/>
                <a:gd name="connsiteY0" fmla="*/ 0 h 61913"/>
                <a:gd name="connsiteX1" fmla="*/ 65045 w 89766"/>
                <a:gd name="connsiteY1" fmla="*/ 1 h 61913"/>
                <a:gd name="connsiteX2" fmla="*/ 84096 w 89766"/>
                <a:gd name="connsiteY2" fmla="*/ 59532 h 61913"/>
                <a:gd name="connsiteX3" fmla="*/ 4762 w 89766"/>
                <a:gd name="connsiteY3" fmla="*/ 61913 h 61913"/>
                <a:gd name="connsiteX4" fmla="*/ 0 w 89766"/>
                <a:gd name="connsiteY4" fmla="*/ 0 h 61913"/>
                <a:gd name="connsiteX0" fmla="*/ 0 w 89766"/>
                <a:gd name="connsiteY0" fmla="*/ 0 h 61913"/>
                <a:gd name="connsiteX1" fmla="*/ 65045 w 89766"/>
                <a:gd name="connsiteY1" fmla="*/ 1 h 61913"/>
                <a:gd name="connsiteX2" fmla="*/ 84096 w 89766"/>
                <a:gd name="connsiteY2" fmla="*/ 59532 h 61913"/>
                <a:gd name="connsiteX3" fmla="*/ 4762 w 89766"/>
                <a:gd name="connsiteY3" fmla="*/ 61913 h 61913"/>
                <a:gd name="connsiteX4" fmla="*/ 0 w 89766"/>
                <a:gd name="connsiteY4" fmla="*/ 0 h 61913"/>
                <a:gd name="connsiteX0" fmla="*/ 0 w 79507"/>
                <a:gd name="connsiteY0" fmla="*/ 0 h 61913"/>
                <a:gd name="connsiteX1" fmla="*/ 65045 w 79507"/>
                <a:gd name="connsiteY1" fmla="*/ 1 h 61913"/>
                <a:gd name="connsiteX2" fmla="*/ 67428 w 79507"/>
                <a:gd name="connsiteY2" fmla="*/ 59532 h 61913"/>
                <a:gd name="connsiteX3" fmla="*/ 4762 w 79507"/>
                <a:gd name="connsiteY3" fmla="*/ 61913 h 61913"/>
                <a:gd name="connsiteX4" fmla="*/ 0 w 79507"/>
                <a:gd name="connsiteY4" fmla="*/ 0 h 61913"/>
                <a:gd name="connsiteX0" fmla="*/ 0 w 89872"/>
                <a:gd name="connsiteY0" fmla="*/ 0 h 61913"/>
                <a:gd name="connsiteX1" fmla="*/ 65045 w 89872"/>
                <a:gd name="connsiteY1" fmla="*/ 1 h 61913"/>
                <a:gd name="connsiteX2" fmla="*/ 67428 w 89872"/>
                <a:gd name="connsiteY2" fmla="*/ 59532 h 61913"/>
                <a:gd name="connsiteX3" fmla="*/ 4762 w 89872"/>
                <a:gd name="connsiteY3" fmla="*/ 61913 h 61913"/>
                <a:gd name="connsiteX4" fmla="*/ 0 w 89872"/>
                <a:gd name="connsiteY4" fmla="*/ 0 h 6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872" h="61913">
                  <a:moveTo>
                    <a:pt x="0" y="0"/>
                  </a:moveTo>
                  <a:lnTo>
                    <a:pt x="65045" y="1"/>
                  </a:lnTo>
                  <a:cubicBezTo>
                    <a:pt x="87792" y="9526"/>
                    <a:pt x="106050" y="56358"/>
                    <a:pt x="67428" y="59532"/>
                  </a:cubicBezTo>
                  <a:lnTo>
                    <a:pt x="4762" y="61913"/>
                  </a:lnTo>
                  <a:cubicBezTo>
                    <a:pt x="3968" y="42069"/>
                    <a:pt x="794" y="19844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12">
              <a:extLst>
                <a:ext uri="{FF2B5EF4-FFF2-40B4-BE49-F238E27FC236}">
                  <a16:creationId xmlns:a16="http://schemas.microsoft.com/office/drawing/2014/main" id="{20F5A134-ED8B-4549-B1DC-C51870E18137}"/>
                </a:ext>
              </a:extLst>
            </p:cNvPr>
            <p:cNvSpPr/>
            <p:nvPr/>
          </p:nvSpPr>
          <p:spPr>
            <a:xfrm>
              <a:off x="2959588" y="1150710"/>
              <a:ext cx="554187" cy="294889"/>
            </a:xfrm>
            <a:custGeom>
              <a:avLst/>
              <a:gdLst>
                <a:gd name="connsiteX0" fmla="*/ 0 w 357188"/>
                <a:gd name="connsiteY0" fmla="*/ 0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0 w 357188"/>
                <a:gd name="connsiteY4" fmla="*/ 0 h 111919"/>
                <a:gd name="connsiteX0" fmla="*/ 114300 w 357188"/>
                <a:gd name="connsiteY0" fmla="*/ 40481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114300 w 357188"/>
                <a:gd name="connsiteY4" fmla="*/ 40481 h 111919"/>
                <a:gd name="connsiteX0" fmla="*/ 42862 w 357188"/>
                <a:gd name="connsiteY0" fmla="*/ 16668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42862 w 357188"/>
                <a:gd name="connsiteY4" fmla="*/ 16668 h 111919"/>
                <a:gd name="connsiteX0" fmla="*/ 42862 w 357188"/>
                <a:gd name="connsiteY0" fmla="*/ 0 h 95251"/>
                <a:gd name="connsiteX1" fmla="*/ 221457 w 357188"/>
                <a:gd name="connsiteY1" fmla="*/ 40482 h 95251"/>
                <a:gd name="connsiteX2" fmla="*/ 357188 w 357188"/>
                <a:gd name="connsiteY2" fmla="*/ 95251 h 95251"/>
                <a:gd name="connsiteX3" fmla="*/ 0 w 357188"/>
                <a:gd name="connsiteY3" fmla="*/ 95251 h 95251"/>
                <a:gd name="connsiteX4" fmla="*/ 42862 w 357188"/>
                <a:gd name="connsiteY4" fmla="*/ 0 h 95251"/>
                <a:gd name="connsiteX0" fmla="*/ 42862 w 357188"/>
                <a:gd name="connsiteY0" fmla="*/ 2381 h 97632"/>
                <a:gd name="connsiteX1" fmla="*/ 297657 w 357188"/>
                <a:gd name="connsiteY1" fmla="*/ 0 h 97632"/>
                <a:gd name="connsiteX2" fmla="*/ 357188 w 357188"/>
                <a:gd name="connsiteY2" fmla="*/ 97632 h 97632"/>
                <a:gd name="connsiteX3" fmla="*/ 0 w 357188"/>
                <a:gd name="connsiteY3" fmla="*/ 97632 h 97632"/>
                <a:gd name="connsiteX4" fmla="*/ 42862 w 357188"/>
                <a:gd name="connsiteY4" fmla="*/ 2381 h 97632"/>
                <a:gd name="connsiteX0" fmla="*/ 42862 w 376290"/>
                <a:gd name="connsiteY0" fmla="*/ 13301 h 108552"/>
                <a:gd name="connsiteX1" fmla="*/ 297657 w 376290"/>
                <a:gd name="connsiteY1" fmla="*/ 10920 h 108552"/>
                <a:gd name="connsiteX2" fmla="*/ 357188 w 376290"/>
                <a:gd name="connsiteY2" fmla="*/ 108552 h 108552"/>
                <a:gd name="connsiteX3" fmla="*/ 0 w 376290"/>
                <a:gd name="connsiteY3" fmla="*/ 108552 h 108552"/>
                <a:gd name="connsiteX4" fmla="*/ 42862 w 376290"/>
                <a:gd name="connsiteY4" fmla="*/ 13301 h 108552"/>
                <a:gd name="connsiteX0" fmla="*/ 66127 w 399555"/>
                <a:gd name="connsiteY0" fmla="*/ 13301 h 108552"/>
                <a:gd name="connsiteX1" fmla="*/ 320922 w 399555"/>
                <a:gd name="connsiteY1" fmla="*/ 10920 h 108552"/>
                <a:gd name="connsiteX2" fmla="*/ 380453 w 399555"/>
                <a:gd name="connsiteY2" fmla="*/ 108552 h 108552"/>
                <a:gd name="connsiteX3" fmla="*/ 23265 w 399555"/>
                <a:gd name="connsiteY3" fmla="*/ 108552 h 108552"/>
                <a:gd name="connsiteX4" fmla="*/ 66127 w 399555"/>
                <a:gd name="connsiteY4" fmla="*/ 13301 h 108552"/>
                <a:gd name="connsiteX0" fmla="*/ 60252 w 393680"/>
                <a:gd name="connsiteY0" fmla="*/ 9797 h 105048"/>
                <a:gd name="connsiteX1" fmla="*/ 315047 w 393680"/>
                <a:gd name="connsiteY1" fmla="*/ 7416 h 105048"/>
                <a:gd name="connsiteX2" fmla="*/ 374578 w 393680"/>
                <a:gd name="connsiteY2" fmla="*/ 105048 h 105048"/>
                <a:gd name="connsiteX3" fmla="*/ 17390 w 393680"/>
                <a:gd name="connsiteY3" fmla="*/ 105048 h 105048"/>
                <a:gd name="connsiteX4" fmla="*/ 60252 w 393680"/>
                <a:gd name="connsiteY4" fmla="*/ 9797 h 105048"/>
                <a:gd name="connsiteX0" fmla="*/ 100738 w 387763"/>
                <a:gd name="connsiteY0" fmla="*/ 28724 h 100163"/>
                <a:gd name="connsiteX1" fmla="*/ 310290 w 387763"/>
                <a:gd name="connsiteY1" fmla="*/ 2531 h 100163"/>
                <a:gd name="connsiteX2" fmla="*/ 369821 w 387763"/>
                <a:gd name="connsiteY2" fmla="*/ 100163 h 100163"/>
                <a:gd name="connsiteX3" fmla="*/ 12633 w 387763"/>
                <a:gd name="connsiteY3" fmla="*/ 100163 h 100163"/>
                <a:gd name="connsiteX4" fmla="*/ 100738 w 387763"/>
                <a:gd name="connsiteY4" fmla="*/ 28724 h 100163"/>
                <a:gd name="connsiteX0" fmla="*/ 88105 w 375130"/>
                <a:gd name="connsiteY0" fmla="*/ 28724 h 100163"/>
                <a:gd name="connsiteX1" fmla="*/ 297657 w 375130"/>
                <a:gd name="connsiteY1" fmla="*/ 2531 h 100163"/>
                <a:gd name="connsiteX2" fmla="*/ 357188 w 375130"/>
                <a:gd name="connsiteY2" fmla="*/ 100163 h 100163"/>
                <a:gd name="connsiteX3" fmla="*/ 0 w 375130"/>
                <a:gd name="connsiteY3" fmla="*/ 100163 h 100163"/>
                <a:gd name="connsiteX4" fmla="*/ 88105 w 375130"/>
                <a:gd name="connsiteY4" fmla="*/ 28724 h 100163"/>
                <a:gd name="connsiteX0" fmla="*/ 50005 w 376099"/>
                <a:gd name="connsiteY0" fmla="*/ 13086 h 103575"/>
                <a:gd name="connsiteX1" fmla="*/ 297657 w 376099"/>
                <a:gd name="connsiteY1" fmla="*/ 5943 h 103575"/>
                <a:gd name="connsiteX2" fmla="*/ 357188 w 376099"/>
                <a:gd name="connsiteY2" fmla="*/ 103575 h 103575"/>
                <a:gd name="connsiteX3" fmla="*/ 0 w 376099"/>
                <a:gd name="connsiteY3" fmla="*/ 103575 h 103575"/>
                <a:gd name="connsiteX4" fmla="*/ 50005 w 376099"/>
                <a:gd name="connsiteY4" fmla="*/ 13086 h 103575"/>
                <a:gd name="connsiteX0" fmla="*/ 50005 w 357188"/>
                <a:gd name="connsiteY0" fmla="*/ 13086 h 103575"/>
                <a:gd name="connsiteX1" fmla="*/ 297657 w 357188"/>
                <a:gd name="connsiteY1" fmla="*/ 5943 h 103575"/>
                <a:gd name="connsiteX2" fmla="*/ 357188 w 357188"/>
                <a:gd name="connsiteY2" fmla="*/ 103575 h 103575"/>
                <a:gd name="connsiteX3" fmla="*/ 0 w 357188"/>
                <a:gd name="connsiteY3" fmla="*/ 103575 h 103575"/>
                <a:gd name="connsiteX4" fmla="*/ 50005 w 357188"/>
                <a:gd name="connsiteY4" fmla="*/ 13086 h 103575"/>
                <a:gd name="connsiteX0" fmla="*/ 50005 w 357188"/>
                <a:gd name="connsiteY0" fmla="*/ 12047 h 102536"/>
                <a:gd name="connsiteX1" fmla="*/ 297657 w 357188"/>
                <a:gd name="connsiteY1" fmla="*/ 4904 h 102536"/>
                <a:gd name="connsiteX2" fmla="*/ 357188 w 357188"/>
                <a:gd name="connsiteY2" fmla="*/ 102536 h 102536"/>
                <a:gd name="connsiteX3" fmla="*/ 0 w 357188"/>
                <a:gd name="connsiteY3" fmla="*/ 102536 h 102536"/>
                <a:gd name="connsiteX4" fmla="*/ 50005 w 357188"/>
                <a:gd name="connsiteY4" fmla="*/ 12047 h 102536"/>
                <a:gd name="connsiteX0" fmla="*/ 50005 w 357188"/>
                <a:gd name="connsiteY0" fmla="*/ 12047 h 102536"/>
                <a:gd name="connsiteX1" fmla="*/ 297657 w 357188"/>
                <a:gd name="connsiteY1" fmla="*/ 4904 h 102536"/>
                <a:gd name="connsiteX2" fmla="*/ 357188 w 357188"/>
                <a:gd name="connsiteY2" fmla="*/ 102536 h 102536"/>
                <a:gd name="connsiteX3" fmla="*/ 0 w 357188"/>
                <a:gd name="connsiteY3" fmla="*/ 102536 h 102536"/>
                <a:gd name="connsiteX4" fmla="*/ 50005 w 357188"/>
                <a:gd name="connsiteY4" fmla="*/ 12047 h 102536"/>
                <a:gd name="connsiteX0" fmla="*/ 50005 w 357188"/>
                <a:gd name="connsiteY0" fmla="*/ 7197 h 97686"/>
                <a:gd name="connsiteX1" fmla="*/ 269082 w 357188"/>
                <a:gd name="connsiteY1" fmla="*/ 14341 h 97686"/>
                <a:gd name="connsiteX2" fmla="*/ 357188 w 357188"/>
                <a:gd name="connsiteY2" fmla="*/ 97686 h 97686"/>
                <a:gd name="connsiteX3" fmla="*/ 0 w 357188"/>
                <a:gd name="connsiteY3" fmla="*/ 97686 h 97686"/>
                <a:gd name="connsiteX4" fmla="*/ 50005 w 357188"/>
                <a:gd name="connsiteY4" fmla="*/ 7197 h 97686"/>
                <a:gd name="connsiteX0" fmla="*/ 50005 w 357188"/>
                <a:gd name="connsiteY0" fmla="*/ 11770 h 102259"/>
                <a:gd name="connsiteX1" fmla="*/ 295276 w 357188"/>
                <a:gd name="connsiteY1" fmla="*/ 9389 h 102259"/>
                <a:gd name="connsiteX2" fmla="*/ 357188 w 357188"/>
                <a:gd name="connsiteY2" fmla="*/ 102259 h 102259"/>
                <a:gd name="connsiteX3" fmla="*/ 0 w 357188"/>
                <a:gd name="connsiteY3" fmla="*/ 102259 h 102259"/>
                <a:gd name="connsiteX4" fmla="*/ 50005 w 357188"/>
                <a:gd name="connsiteY4" fmla="*/ 11770 h 102259"/>
                <a:gd name="connsiteX0" fmla="*/ 50005 w 357188"/>
                <a:gd name="connsiteY0" fmla="*/ 9430 h 99919"/>
                <a:gd name="connsiteX1" fmla="*/ 295276 w 357188"/>
                <a:gd name="connsiteY1" fmla="*/ 7049 h 99919"/>
                <a:gd name="connsiteX2" fmla="*/ 357188 w 357188"/>
                <a:gd name="connsiteY2" fmla="*/ 99919 h 99919"/>
                <a:gd name="connsiteX3" fmla="*/ 0 w 357188"/>
                <a:gd name="connsiteY3" fmla="*/ 99919 h 99919"/>
                <a:gd name="connsiteX4" fmla="*/ 50005 w 357188"/>
                <a:gd name="connsiteY4" fmla="*/ 9430 h 99919"/>
                <a:gd name="connsiteX0" fmla="*/ 50005 w 357188"/>
                <a:gd name="connsiteY0" fmla="*/ 12324 h 102813"/>
                <a:gd name="connsiteX1" fmla="*/ 173831 w 357188"/>
                <a:gd name="connsiteY1" fmla="*/ 2893 h 102813"/>
                <a:gd name="connsiteX2" fmla="*/ 295276 w 357188"/>
                <a:gd name="connsiteY2" fmla="*/ 9943 h 102813"/>
                <a:gd name="connsiteX3" fmla="*/ 357188 w 357188"/>
                <a:gd name="connsiteY3" fmla="*/ 102813 h 102813"/>
                <a:gd name="connsiteX4" fmla="*/ 0 w 357188"/>
                <a:gd name="connsiteY4" fmla="*/ 102813 h 102813"/>
                <a:gd name="connsiteX5" fmla="*/ 50005 w 357188"/>
                <a:gd name="connsiteY5" fmla="*/ 12324 h 102813"/>
                <a:gd name="connsiteX0" fmla="*/ 50005 w 362306"/>
                <a:gd name="connsiteY0" fmla="*/ 12324 h 102813"/>
                <a:gd name="connsiteX1" fmla="*/ 173831 w 362306"/>
                <a:gd name="connsiteY1" fmla="*/ 2893 h 102813"/>
                <a:gd name="connsiteX2" fmla="*/ 295276 w 362306"/>
                <a:gd name="connsiteY2" fmla="*/ 9943 h 102813"/>
                <a:gd name="connsiteX3" fmla="*/ 357188 w 362306"/>
                <a:gd name="connsiteY3" fmla="*/ 102813 h 102813"/>
                <a:gd name="connsiteX4" fmla="*/ 164306 w 362306"/>
                <a:gd name="connsiteY4" fmla="*/ 100649 h 102813"/>
                <a:gd name="connsiteX5" fmla="*/ 0 w 362306"/>
                <a:gd name="connsiteY5" fmla="*/ 102813 h 102813"/>
                <a:gd name="connsiteX6" fmla="*/ 50005 w 362306"/>
                <a:gd name="connsiteY6" fmla="*/ 12324 h 102813"/>
                <a:gd name="connsiteX0" fmla="*/ 50005 w 362306"/>
                <a:gd name="connsiteY0" fmla="*/ 12324 h 102813"/>
                <a:gd name="connsiteX1" fmla="*/ 173831 w 362306"/>
                <a:gd name="connsiteY1" fmla="*/ 2893 h 102813"/>
                <a:gd name="connsiteX2" fmla="*/ 295276 w 362306"/>
                <a:gd name="connsiteY2" fmla="*/ 9943 h 102813"/>
                <a:gd name="connsiteX3" fmla="*/ 357188 w 362306"/>
                <a:gd name="connsiteY3" fmla="*/ 102813 h 102813"/>
                <a:gd name="connsiteX4" fmla="*/ 178593 w 362306"/>
                <a:gd name="connsiteY4" fmla="*/ 98376 h 102813"/>
                <a:gd name="connsiteX5" fmla="*/ 0 w 362306"/>
                <a:gd name="connsiteY5" fmla="*/ 102813 h 102813"/>
                <a:gd name="connsiteX6" fmla="*/ 50005 w 362306"/>
                <a:gd name="connsiteY6" fmla="*/ 12324 h 102813"/>
                <a:gd name="connsiteX0" fmla="*/ 3 w 362309"/>
                <a:gd name="connsiteY0" fmla="*/ 108921 h 108921"/>
                <a:gd name="connsiteX1" fmla="*/ 173834 w 362309"/>
                <a:gd name="connsiteY1" fmla="*/ 9001 h 108921"/>
                <a:gd name="connsiteX2" fmla="*/ 295279 w 362309"/>
                <a:gd name="connsiteY2" fmla="*/ 16051 h 108921"/>
                <a:gd name="connsiteX3" fmla="*/ 357191 w 362309"/>
                <a:gd name="connsiteY3" fmla="*/ 108921 h 108921"/>
                <a:gd name="connsiteX4" fmla="*/ 178596 w 362309"/>
                <a:gd name="connsiteY4" fmla="*/ 104484 h 108921"/>
                <a:gd name="connsiteX5" fmla="*/ 3 w 362309"/>
                <a:gd name="connsiteY5" fmla="*/ 108921 h 108921"/>
                <a:gd name="connsiteX0" fmla="*/ 4762 w 188475"/>
                <a:gd name="connsiteY0" fmla="*/ 104484 h 108921"/>
                <a:gd name="connsiteX1" fmla="*/ 0 w 188475"/>
                <a:gd name="connsiteY1" fmla="*/ 9001 h 108921"/>
                <a:gd name="connsiteX2" fmla="*/ 121445 w 188475"/>
                <a:gd name="connsiteY2" fmla="*/ 16051 h 108921"/>
                <a:gd name="connsiteX3" fmla="*/ 183357 w 188475"/>
                <a:gd name="connsiteY3" fmla="*/ 108921 h 108921"/>
                <a:gd name="connsiteX4" fmla="*/ 4762 w 188475"/>
                <a:gd name="connsiteY4" fmla="*/ 104484 h 108921"/>
                <a:gd name="connsiteX0" fmla="*/ 0 w 188475"/>
                <a:gd name="connsiteY0" fmla="*/ 106757 h 108921"/>
                <a:gd name="connsiteX1" fmla="*/ 0 w 188475"/>
                <a:gd name="connsiteY1" fmla="*/ 9001 h 108921"/>
                <a:gd name="connsiteX2" fmla="*/ 121445 w 188475"/>
                <a:gd name="connsiteY2" fmla="*/ 16051 h 108921"/>
                <a:gd name="connsiteX3" fmla="*/ 183357 w 188475"/>
                <a:gd name="connsiteY3" fmla="*/ 108921 h 108921"/>
                <a:gd name="connsiteX4" fmla="*/ 0 w 188475"/>
                <a:gd name="connsiteY4" fmla="*/ 106757 h 108921"/>
                <a:gd name="connsiteX0" fmla="*/ 0 w 188475"/>
                <a:gd name="connsiteY0" fmla="*/ 99620 h 101784"/>
                <a:gd name="connsiteX1" fmla="*/ 0 w 188475"/>
                <a:gd name="connsiteY1" fmla="*/ 1864 h 101784"/>
                <a:gd name="connsiteX2" fmla="*/ 121445 w 188475"/>
                <a:gd name="connsiteY2" fmla="*/ 8914 h 101784"/>
                <a:gd name="connsiteX3" fmla="*/ 183357 w 188475"/>
                <a:gd name="connsiteY3" fmla="*/ 101784 h 101784"/>
                <a:gd name="connsiteX4" fmla="*/ 0 w 188475"/>
                <a:gd name="connsiteY4" fmla="*/ 99620 h 101784"/>
                <a:gd name="connsiteX0" fmla="*/ 0 w 189246"/>
                <a:gd name="connsiteY0" fmla="*/ 97756 h 99920"/>
                <a:gd name="connsiteX1" fmla="*/ 0 w 189246"/>
                <a:gd name="connsiteY1" fmla="*/ 0 h 99920"/>
                <a:gd name="connsiteX2" fmla="*/ 130970 w 189246"/>
                <a:gd name="connsiteY2" fmla="*/ 20690 h 99920"/>
                <a:gd name="connsiteX3" fmla="*/ 183357 w 189246"/>
                <a:gd name="connsiteY3" fmla="*/ 99920 h 99920"/>
                <a:gd name="connsiteX4" fmla="*/ 0 w 189246"/>
                <a:gd name="connsiteY4" fmla="*/ 97756 h 99920"/>
                <a:gd name="connsiteX0" fmla="*/ 0 w 188516"/>
                <a:gd name="connsiteY0" fmla="*/ 97756 h 99920"/>
                <a:gd name="connsiteX1" fmla="*/ 0 w 188516"/>
                <a:gd name="connsiteY1" fmla="*/ 0 h 99920"/>
                <a:gd name="connsiteX2" fmla="*/ 130970 w 188516"/>
                <a:gd name="connsiteY2" fmla="*/ 20690 h 99920"/>
                <a:gd name="connsiteX3" fmla="*/ 183357 w 188516"/>
                <a:gd name="connsiteY3" fmla="*/ 99920 h 99920"/>
                <a:gd name="connsiteX4" fmla="*/ 0 w 188516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30970 w 183357"/>
                <a:gd name="connsiteY2" fmla="*/ 2069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28589 w 183357"/>
                <a:gd name="connsiteY2" fmla="*/ 1387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28589 w 183357"/>
                <a:gd name="connsiteY2" fmla="*/ 1387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357" h="99920">
                  <a:moveTo>
                    <a:pt x="0" y="97756"/>
                  </a:moveTo>
                  <a:lnTo>
                    <a:pt x="0" y="0"/>
                  </a:lnTo>
                  <a:cubicBezTo>
                    <a:pt x="53975" y="2709"/>
                    <a:pt x="107554" y="-5056"/>
                    <a:pt x="128589" y="13870"/>
                  </a:cubicBezTo>
                  <a:cubicBezTo>
                    <a:pt x="149624" y="32796"/>
                    <a:pt x="164704" y="55249"/>
                    <a:pt x="183357" y="99920"/>
                  </a:cubicBezTo>
                  <a:lnTo>
                    <a:pt x="0" y="977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12">
              <a:extLst>
                <a:ext uri="{FF2B5EF4-FFF2-40B4-BE49-F238E27FC236}">
                  <a16:creationId xmlns:a16="http://schemas.microsoft.com/office/drawing/2014/main" id="{F8B664B3-4F63-4205-9762-3B7612AFCCFB}"/>
                </a:ext>
              </a:extLst>
            </p:cNvPr>
            <p:cNvSpPr/>
            <p:nvPr/>
          </p:nvSpPr>
          <p:spPr>
            <a:xfrm flipH="1">
              <a:off x="2405406" y="1150708"/>
              <a:ext cx="554187" cy="294889"/>
            </a:xfrm>
            <a:custGeom>
              <a:avLst/>
              <a:gdLst>
                <a:gd name="connsiteX0" fmla="*/ 0 w 357188"/>
                <a:gd name="connsiteY0" fmla="*/ 0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0 w 357188"/>
                <a:gd name="connsiteY4" fmla="*/ 0 h 111919"/>
                <a:gd name="connsiteX0" fmla="*/ 114300 w 357188"/>
                <a:gd name="connsiteY0" fmla="*/ 40481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114300 w 357188"/>
                <a:gd name="connsiteY4" fmla="*/ 40481 h 111919"/>
                <a:gd name="connsiteX0" fmla="*/ 42862 w 357188"/>
                <a:gd name="connsiteY0" fmla="*/ 16668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42862 w 357188"/>
                <a:gd name="connsiteY4" fmla="*/ 16668 h 111919"/>
                <a:gd name="connsiteX0" fmla="*/ 42862 w 357188"/>
                <a:gd name="connsiteY0" fmla="*/ 0 h 95251"/>
                <a:gd name="connsiteX1" fmla="*/ 221457 w 357188"/>
                <a:gd name="connsiteY1" fmla="*/ 40482 h 95251"/>
                <a:gd name="connsiteX2" fmla="*/ 357188 w 357188"/>
                <a:gd name="connsiteY2" fmla="*/ 95251 h 95251"/>
                <a:gd name="connsiteX3" fmla="*/ 0 w 357188"/>
                <a:gd name="connsiteY3" fmla="*/ 95251 h 95251"/>
                <a:gd name="connsiteX4" fmla="*/ 42862 w 357188"/>
                <a:gd name="connsiteY4" fmla="*/ 0 h 95251"/>
                <a:gd name="connsiteX0" fmla="*/ 42862 w 357188"/>
                <a:gd name="connsiteY0" fmla="*/ 2381 h 97632"/>
                <a:gd name="connsiteX1" fmla="*/ 297657 w 357188"/>
                <a:gd name="connsiteY1" fmla="*/ 0 h 97632"/>
                <a:gd name="connsiteX2" fmla="*/ 357188 w 357188"/>
                <a:gd name="connsiteY2" fmla="*/ 97632 h 97632"/>
                <a:gd name="connsiteX3" fmla="*/ 0 w 357188"/>
                <a:gd name="connsiteY3" fmla="*/ 97632 h 97632"/>
                <a:gd name="connsiteX4" fmla="*/ 42862 w 357188"/>
                <a:gd name="connsiteY4" fmla="*/ 2381 h 97632"/>
                <a:gd name="connsiteX0" fmla="*/ 42862 w 376290"/>
                <a:gd name="connsiteY0" fmla="*/ 13301 h 108552"/>
                <a:gd name="connsiteX1" fmla="*/ 297657 w 376290"/>
                <a:gd name="connsiteY1" fmla="*/ 10920 h 108552"/>
                <a:gd name="connsiteX2" fmla="*/ 357188 w 376290"/>
                <a:gd name="connsiteY2" fmla="*/ 108552 h 108552"/>
                <a:gd name="connsiteX3" fmla="*/ 0 w 376290"/>
                <a:gd name="connsiteY3" fmla="*/ 108552 h 108552"/>
                <a:gd name="connsiteX4" fmla="*/ 42862 w 376290"/>
                <a:gd name="connsiteY4" fmla="*/ 13301 h 108552"/>
                <a:gd name="connsiteX0" fmla="*/ 66127 w 399555"/>
                <a:gd name="connsiteY0" fmla="*/ 13301 h 108552"/>
                <a:gd name="connsiteX1" fmla="*/ 320922 w 399555"/>
                <a:gd name="connsiteY1" fmla="*/ 10920 h 108552"/>
                <a:gd name="connsiteX2" fmla="*/ 380453 w 399555"/>
                <a:gd name="connsiteY2" fmla="*/ 108552 h 108552"/>
                <a:gd name="connsiteX3" fmla="*/ 23265 w 399555"/>
                <a:gd name="connsiteY3" fmla="*/ 108552 h 108552"/>
                <a:gd name="connsiteX4" fmla="*/ 66127 w 399555"/>
                <a:gd name="connsiteY4" fmla="*/ 13301 h 108552"/>
                <a:gd name="connsiteX0" fmla="*/ 60252 w 393680"/>
                <a:gd name="connsiteY0" fmla="*/ 9797 h 105048"/>
                <a:gd name="connsiteX1" fmla="*/ 315047 w 393680"/>
                <a:gd name="connsiteY1" fmla="*/ 7416 h 105048"/>
                <a:gd name="connsiteX2" fmla="*/ 374578 w 393680"/>
                <a:gd name="connsiteY2" fmla="*/ 105048 h 105048"/>
                <a:gd name="connsiteX3" fmla="*/ 17390 w 393680"/>
                <a:gd name="connsiteY3" fmla="*/ 105048 h 105048"/>
                <a:gd name="connsiteX4" fmla="*/ 60252 w 393680"/>
                <a:gd name="connsiteY4" fmla="*/ 9797 h 105048"/>
                <a:gd name="connsiteX0" fmla="*/ 100738 w 387763"/>
                <a:gd name="connsiteY0" fmla="*/ 28724 h 100163"/>
                <a:gd name="connsiteX1" fmla="*/ 310290 w 387763"/>
                <a:gd name="connsiteY1" fmla="*/ 2531 h 100163"/>
                <a:gd name="connsiteX2" fmla="*/ 369821 w 387763"/>
                <a:gd name="connsiteY2" fmla="*/ 100163 h 100163"/>
                <a:gd name="connsiteX3" fmla="*/ 12633 w 387763"/>
                <a:gd name="connsiteY3" fmla="*/ 100163 h 100163"/>
                <a:gd name="connsiteX4" fmla="*/ 100738 w 387763"/>
                <a:gd name="connsiteY4" fmla="*/ 28724 h 100163"/>
                <a:gd name="connsiteX0" fmla="*/ 88105 w 375130"/>
                <a:gd name="connsiteY0" fmla="*/ 28724 h 100163"/>
                <a:gd name="connsiteX1" fmla="*/ 297657 w 375130"/>
                <a:gd name="connsiteY1" fmla="*/ 2531 h 100163"/>
                <a:gd name="connsiteX2" fmla="*/ 357188 w 375130"/>
                <a:gd name="connsiteY2" fmla="*/ 100163 h 100163"/>
                <a:gd name="connsiteX3" fmla="*/ 0 w 375130"/>
                <a:gd name="connsiteY3" fmla="*/ 100163 h 100163"/>
                <a:gd name="connsiteX4" fmla="*/ 88105 w 375130"/>
                <a:gd name="connsiteY4" fmla="*/ 28724 h 100163"/>
                <a:gd name="connsiteX0" fmla="*/ 50005 w 376099"/>
                <a:gd name="connsiteY0" fmla="*/ 13086 h 103575"/>
                <a:gd name="connsiteX1" fmla="*/ 297657 w 376099"/>
                <a:gd name="connsiteY1" fmla="*/ 5943 h 103575"/>
                <a:gd name="connsiteX2" fmla="*/ 357188 w 376099"/>
                <a:gd name="connsiteY2" fmla="*/ 103575 h 103575"/>
                <a:gd name="connsiteX3" fmla="*/ 0 w 376099"/>
                <a:gd name="connsiteY3" fmla="*/ 103575 h 103575"/>
                <a:gd name="connsiteX4" fmla="*/ 50005 w 376099"/>
                <a:gd name="connsiteY4" fmla="*/ 13086 h 103575"/>
                <a:gd name="connsiteX0" fmla="*/ 50005 w 357188"/>
                <a:gd name="connsiteY0" fmla="*/ 13086 h 103575"/>
                <a:gd name="connsiteX1" fmla="*/ 297657 w 357188"/>
                <a:gd name="connsiteY1" fmla="*/ 5943 h 103575"/>
                <a:gd name="connsiteX2" fmla="*/ 357188 w 357188"/>
                <a:gd name="connsiteY2" fmla="*/ 103575 h 103575"/>
                <a:gd name="connsiteX3" fmla="*/ 0 w 357188"/>
                <a:gd name="connsiteY3" fmla="*/ 103575 h 103575"/>
                <a:gd name="connsiteX4" fmla="*/ 50005 w 357188"/>
                <a:gd name="connsiteY4" fmla="*/ 13086 h 103575"/>
                <a:gd name="connsiteX0" fmla="*/ 50005 w 357188"/>
                <a:gd name="connsiteY0" fmla="*/ 12047 h 102536"/>
                <a:gd name="connsiteX1" fmla="*/ 297657 w 357188"/>
                <a:gd name="connsiteY1" fmla="*/ 4904 h 102536"/>
                <a:gd name="connsiteX2" fmla="*/ 357188 w 357188"/>
                <a:gd name="connsiteY2" fmla="*/ 102536 h 102536"/>
                <a:gd name="connsiteX3" fmla="*/ 0 w 357188"/>
                <a:gd name="connsiteY3" fmla="*/ 102536 h 102536"/>
                <a:gd name="connsiteX4" fmla="*/ 50005 w 357188"/>
                <a:gd name="connsiteY4" fmla="*/ 12047 h 102536"/>
                <a:gd name="connsiteX0" fmla="*/ 50005 w 357188"/>
                <a:gd name="connsiteY0" fmla="*/ 12047 h 102536"/>
                <a:gd name="connsiteX1" fmla="*/ 297657 w 357188"/>
                <a:gd name="connsiteY1" fmla="*/ 4904 h 102536"/>
                <a:gd name="connsiteX2" fmla="*/ 357188 w 357188"/>
                <a:gd name="connsiteY2" fmla="*/ 102536 h 102536"/>
                <a:gd name="connsiteX3" fmla="*/ 0 w 357188"/>
                <a:gd name="connsiteY3" fmla="*/ 102536 h 102536"/>
                <a:gd name="connsiteX4" fmla="*/ 50005 w 357188"/>
                <a:gd name="connsiteY4" fmla="*/ 12047 h 102536"/>
                <a:gd name="connsiteX0" fmla="*/ 50005 w 357188"/>
                <a:gd name="connsiteY0" fmla="*/ 7197 h 97686"/>
                <a:gd name="connsiteX1" fmla="*/ 269082 w 357188"/>
                <a:gd name="connsiteY1" fmla="*/ 14341 h 97686"/>
                <a:gd name="connsiteX2" fmla="*/ 357188 w 357188"/>
                <a:gd name="connsiteY2" fmla="*/ 97686 h 97686"/>
                <a:gd name="connsiteX3" fmla="*/ 0 w 357188"/>
                <a:gd name="connsiteY3" fmla="*/ 97686 h 97686"/>
                <a:gd name="connsiteX4" fmla="*/ 50005 w 357188"/>
                <a:gd name="connsiteY4" fmla="*/ 7197 h 97686"/>
                <a:gd name="connsiteX0" fmla="*/ 50005 w 357188"/>
                <a:gd name="connsiteY0" fmla="*/ 11770 h 102259"/>
                <a:gd name="connsiteX1" fmla="*/ 295276 w 357188"/>
                <a:gd name="connsiteY1" fmla="*/ 9389 h 102259"/>
                <a:gd name="connsiteX2" fmla="*/ 357188 w 357188"/>
                <a:gd name="connsiteY2" fmla="*/ 102259 h 102259"/>
                <a:gd name="connsiteX3" fmla="*/ 0 w 357188"/>
                <a:gd name="connsiteY3" fmla="*/ 102259 h 102259"/>
                <a:gd name="connsiteX4" fmla="*/ 50005 w 357188"/>
                <a:gd name="connsiteY4" fmla="*/ 11770 h 102259"/>
                <a:gd name="connsiteX0" fmla="*/ 50005 w 357188"/>
                <a:gd name="connsiteY0" fmla="*/ 9430 h 99919"/>
                <a:gd name="connsiteX1" fmla="*/ 295276 w 357188"/>
                <a:gd name="connsiteY1" fmla="*/ 7049 h 99919"/>
                <a:gd name="connsiteX2" fmla="*/ 357188 w 357188"/>
                <a:gd name="connsiteY2" fmla="*/ 99919 h 99919"/>
                <a:gd name="connsiteX3" fmla="*/ 0 w 357188"/>
                <a:gd name="connsiteY3" fmla="*/ 99919 h 99919"/>
                <a:gd name="connsiteX4" fmla="*/ 50005 w 357188"/>
                <a:gd name="connsiteY4" fmla="*/ 9430 h 99919"/>
                <a:gd name="connsiteX0" fmla="*/ 50005 w 357188"/>
                <a:gd name="connsiteY0" fmla="*/ 12324 h 102813"/>
                <a:gd name="connsiteX1" fmla="*/ 173831 w 357188"/>
                <a:gd name="connsiteY1" fmla="*/ 2893 h 102813"/>
                <a:gd name="connsiteX2" fmla="*/ 295276 w 357188"/>
                <a:gd name="connsiteY2" fmla="*/ 9943 h 102813"/>
                <a:gd name="connsiteX3" fmla="*/ 357188 w 357188"/>
                <a:gd name="connsiteY3" fmla="*/ 102813 h 102813"/>
                <a:gd name="connsiteX4" fmla="*/ 0 w 357188"/>
                <a:gd name="connsiteY4" fmla="*/ 102813 h 102813"/>
                <a:gd name="connsiteX5" fmla="*/ 50005 w 357188"/>
                <a:gd name="connsiteY5" fmla="*/ 12324 h 102813"/>
                <a:gd name="connsiteX0" fmla="*/ 50005 w 362306"/>
                <a:gd name="connsiteY0" fmla="*/ 12324 h 102813"/>
                <a:gd name="connsiteX1" fmla="*/ 173831 w 362306"/>
                <a:gd name="connsiteY1" fmla="*/ 2893 h 102813"/>
                <a:gd name="connsiteX2" fmla="*/ 295276 w 362306"/>
                <a:gd name="connsiteY2" fmla="*/ 9943 h 102813"/>
                <a:gd name="connsiteX3" fmla="*/ 357188 w 362306"/>
                <a:gd name="connsiteY3" fmla="*/ 102813 h 102813"/>
                <a:gd name="connsiteX4" fmla="*/ 164306 w 362306"/>
                <a:gd name="connsiteY4" fmla="*/ 100649 h 102813"/>
                <a:gd name="connsiteX5" fmla="*/ 0 w 362306"/>
                <a:gd name="connsiteY5" fmla="*/ 102813 h 102813"/>
                <a:gd name="connsiteX6" fmla="*/ 50005 w 362306"/>
                <a:gd name="connsiteY6" fmla="*/ 12324 h 102813"/>
                <a:gd name="connsiteX0" fmla="*/ 50005 w 362306"/>
                <a:gd name="connsiteY0" fmla="*/ 12324 h 102813"/>
                <a:gd name="connsiteX1" fmla="*/ 173831 w 362306"/>
                <a:gd name="connsiteY1" fmla="*/ 2893 h 102813"/>
                <a:gd name="connsiteX2" fmla="*/ 295276 w 362306"/>
                <a:gd name="connsiteY2" fmla="*/ 9943 h 102813"/>
                <a:gd name="connsiteX3" fmla="*/ 357188 w 362306"/>
                <a:gd name="connsiteY3" fmla="*/ 102813 h 102813"/>
                <a:gd name="connsiteX4" fmla="*/ 178593 w 362306"/>
                <a:gd name="connsiteY4" fmla="*/ 98376 h 102813"/>
                <a:gd name="connsiteX5" fmla="*/ 0 w 362306"/>
                <a:gd name="connsiteY5" fmla="*/ 102813 h 102813"/>
                <a:gd name="connsiteX6" fmla="*/ 50005 w 362306"/>
                <a:gd name="connsiteY6" fmla="*/ 12324 h 102813"/>
                <a:gd name="connsiteX0" fmla="*/ 3 w 362309"/>
                <a:gd name="connsiteY0" fmla="*/ 108921 h 108921"/>
                <a:gd name="connsiteX1" fmla="*/ 173834 w 362309"/>
                <a:gd name="connsiteY1" fmla="*/ 9001 h 108921"/>
                <a:gd name="connsiteX2" fmla="*/ 295279 w 362309"/>
                <a:gd name="connsiteY2" fmla="*/ 16051 h 108921"/>
                <a:gd name="connsiteX3" fmla="*/ 357191 w 362309"/>
                <a:gd name="connsiteY3" fmla="*/ 108921 h 108921"/>
                <a:gd name="connsiteX4" fmla="*/ 178596 w 362309"/>
                <a:gd name="connsiteY4" fmla="*/ 104484 h 108921"/>
                <a:gd name="connsiteX5" fmla="*/ 3 w 362309"/>
                <a:gd name="connsiteY5" fmla="*/ 108921 h 108921"/>
                <a:gd name="connsiteX0" fmla="*/ 4762 w 188475"/>
                <a:gd name="connsiteY0" fmla="*/ 104484 h 108921"/>
                <a:gd name="connsiteX1" fmla="*/ 0 w 188475"/>
                <a:gd name="connsiteY1" fmla="*/ 9001 h 108921"/>
                <a:gd name="connsiteX2" fmla="*/ 121445 w 188475"/>
                <a:gd name="connsiteY2" fmla="*/ 16051 h 108921"/>
                <a:gd name="connsiteX3" fmla="*/ 183357 w 188475"/>
                <a:gd name="connsiteY3" fmla="*/ 108921 h 108921"/>
                <a:gd name="connsiteX4" fmla="*/ 4762 w 188475"/>
                <a:gd name="connsiteY4" fmla="*/ 104484 h 108921"/>
                <a:gd name="connsiteX0" fmla="*/ 0 w 188475"/>
                <a:gd name="connsiteY0" fmla="*/ 106757 h 108921"/>
                <a:gd name="connsiteX1" fmla="*/ 0 w 188475"/>
                <a:gd name="connsiteY1" fmla="*/ 9001 h 108921"/>
                <a:gd name="connsiteX2" fmla="*/ 121445 w 188475"/>
                <a:gd name="connsiteY2" fmla="*/ 16051 h 108921"/>
                <a:gd name="connsiteX3" fmla="*/ 183357 w 188475"/>
                <a:gd name="connsiteY3" fmla="*/ 108921 h 108921"/>
                <a:gd name="connsiteX4" fmla="*/ 0 w 188475"/>
                <a:gd name="connsiteY4" fmla="*/ 106757 h 108921"/>
                <a:gd name="connsiteX0" fmla="*/ 0 w 188475"/>
                <a:gd name="connsiteY0" fmla="*/ 99620 h 101784"/>
                <a:gd name="connsiteX1" fmla="*/ 0 w 188475"/>
                <a:gd name="connsiteY1" fmla="*/ 1864 h 101784"/>
                <a:gd name="connsiteX2" fmla="*/ 121445 w 188475"/>
                <a:gd name="connsiteY2" fmla="*/ 8914 h 101784"/>
                <a:gd name="connsiteX3" fmla="*/ 183357 w 188475"/>
                <a:gd name="connsiteY3" fmla="*/ 101784 h 101784"/>
                <a:gd name="connsiteX4" fmla="*/ 0 w 188475"/>
                <a:gd name="connsiteY4" fmla="*/ 99620 h 101784"/>
                <a:gd name="connsiteX0" fmla="*/ 0 w 189246"/>
                <a:gd name="connsiteY0" fmla="*/ 97756 h 99920"/>
                <a:gd name="connsiteX1" fmla="*/ 0 w 189246"/>
                <a:gd name="connsiteY1" fmla="*/ 0 h 99920"/>
                <a:gd name="connsiteX2" fmla="*/ 130970 w 189246"/>
                <a:gd name="connsiteY2" fmla="*/ 20690 h 99920"/>
                <a:gd name="connsiteX3" fmla="*/ 183357 w 189246"/>
                <a:gd name="connsiteY3" fmla="*/ 99920 h 99920"/>
                <a:gd name="connsiteX4" fmla="*/ 0 w 189246"/>
                <a:gd name="connsiteY4" fmla="*/ 97756 h 99920"/>
                <a:gd name="connsiteX0" fmla="*/ 0 w 188516"/>
                <a:gd name="connsiteY0" fmla="*/ 97756 h 99920"/>
                <a:gd name="connsiteX1" fmla="*/ 0 w 188516"/>
                <a:gd name="connsiteY1" fmla="*/ 0 h 99920"/>
                <a:gd name="connsiteX2" fmla="*/ 130970 w 188516"/>
                <a:gd name="connsiteY2" fmla="*/ 20690 h 99920"/>
                <a:gd name="connsiteX3" fmla="*/ 183357 w 188516"/>
                <a:gd name="connsiteY3" fmla="*/ 99920 h 99920"/>
                <a:gd name="connsiteX4" fmla="*/ 0 w 188516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30970 w 183357"/>
                <a:gd name="connsiteY2" fmla="*/ 2069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28589 w 183357"/>
                <a:gd name="connsiteY2" fmla="*/ 1387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28589 w 183357"/>
                <a:gd name="connsiteY2" fmla="*/ 1387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357" h="99920">
                  <a:moveTo>
                    <a:pt x="0" y="97756"/>
                  </a:moveTo>
                  <a:lnTo>
                    <a:pt x="0" y="0"/>
                  </a:lnTo>
                  <a:cubicBezTo>
                    <a:pt x="53975" y="2709"/>
                    <a:pt x="107554" y="-5056"/>
                    <a:pt x="128589" y="13870"/>
                  </a:cubicBezTo>
                  <a:cubicBezTo>
                    <a:pt x="149624" y="32796"/>
                    <a:pt x="164704" y="57522"/>
                    <a:pt x="183357" y="99920"/>
                  </a:cubicBezTo>
                  <a:lnTo>
                    <a:pt x="0" y="977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ounded Rectangle 43">
              <a:extLst>
                <a:ext uri="{FF2B5EF4-FFF2-40B4-BE49-F238E27FC236}">
                  <a16:creationId xmlns:a16="http://schemas.microsoft.com/office/drawing/2014/main" id="{84A937AB-F06A-41DD-87A5-5681A8A16ADF}"/>
                </a:ext>
              </a:extLst>
            </p:cNvPr>
            <p:cNvSpPr/>
            <p:nvPr/>
          </p:nvSpPr>
          <p:spPr>
            <a:xfrm>
              <a:off x="2350438" y="1609469"/>
              <a:ext cx="245476" cy="147286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ounded Rectangle 44">
              <a:extLst>
                <a:ext uri="{FF2B5EF4-FFF2-40B4-BE49-F238E27FC236}">
                  <a16:creationId xmlns:a16="http://schemas.microsoft.com/office/drawing/2014/main" id="{1B594749-E214-4A00-9348-A112BF73EC1B}"/>
                </a:ext>
              </a:extLst>
            </p:cNvPr>
            <p:cNvSpPr/>
            <p:nvPr/>
          </p:nvSpPr>
          <p:spPr>
            <a:xfrm>
              <a:off x="3300650" y="1608447"/>
              <a:ext cx="245476" cy="147286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45">
              <a:extLst>
                <a:ext uri="{FF2B5EF4-FFF2-40B4-BE49-F238E27FC236}">
                  <a16:creationId xmlns:a16="http://schemas.microsoft.com/office/drawing/2014/main" id="{DFDA90EB-90F5-4E15-BCC0-A7342A19384F}"/>
                </a:ext>
              </a:extLst>
            </p:cNvPr>
            <p:cNvSpPr/>
            <p:nvPr/>
          </p:nvSpPr>
          <p:spPr>
            <a:xfrm>
              <a:off x="3172783" y="1363993"/>
              <a:ext cx="190244" cy="165697"/>
            </a:xfrm>
            <a:prstGeom prst="ellipse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7" name="Titre 1">
            <a:extLst>
              <a:ext uri="{FF2B5EF4-FFF2-40B4-BE49-F238E27FC236}">
                <a16:creationId xmlns:a16="http://schemas.microsoft.com/office/drawing/2014/main" id="{F94D2D2C-15D3-4F6C-9AE3-0243E9B68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6890556" cy="1143000"/>
          </a:xfrm>
        </p:spPr>
        <p:txBody>
          <a:bodyPr/>
          <a:lstStyle/>
          <a:p>
            <a:r>
              <a:rPr lang="fr-FR" dirty="0"/>
              <a:t>Challenge </a:t>
            </a:r>
            <a:r>
              <a:rPr lang="fr-FR" dirty="0" err="1"/>
              <a:t>facing</a:t>
            </a:r>
            <a:r>
              <a:rPr lang="fr-FR" dirty="0"/>
              <a:t> the </a:t>
            </a:r>
            <a:r>
              <a:rPr lang="fr-FR" dirty="0" err="1"/>
              <a:t>Automated</a:t>
            </a:r>
            <a:r>
              <a:rPr lang="fr-FR" dirty="0"/>
              <a:t> Driving (AD)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FD0EAEF4-DF8A-4EB1-82DC-0C37EFA12BED}"/>
              </a:ext>
            </a:extLst>
          </p:cNvPr>
          <p:cNvSpPr txBox="1"/>
          <p:nvPr/>
        </p:nvSpPr>
        <p:spPr>
          <a:xfrm>
            <a:off x="3430160" y="1957405"/>
            <a:ext cx="46805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 err="1"/>
              <a:t>Automated</a:t>
            </a:r>
            <a:r>
              <a:rPr lang="fr-FR" sz="3200" dirty="0"/>
              <a:t> </a:t>
            </a:r>
            <a:r>
              <a:rPr lang="fr-FR" sz="3200" dirty="0" err="1"/>
              <a:t>vehicles</a:t>
            </a:r>
            <a:endParaRPr lang="en-GB" sz="3200" dirty="0"/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F76FC077-90BC-40AF-97C5-3D000AB4D124}"/>
              </a:ext>
            </a:extLst>
          </p:cNvPr>
          <p:cNvSpPr txBox="1"/>
          <p:nvPr/>
        </p:nvSpPr>
        <p:spPr>
          <a:xfrm>
            <a:off x="5879976" y="3471391"/>
            <a:ext cx="18799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AD System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1854485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2D1E5E8-D711-46FE-9C60-B9EEB98BD5B5}"/>
              </a:ext>
            </a:extLst>
          </p:cNvPr>
          <p:cNvSpPr/>
          <p:nvPr/>
        </p:nvSpPr>
        <p:spPr>
          <a:xfrm>
            <a:off x="1098340" y="3361620"/>
            <a:ext cx="9361040" cy="252028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90000"/>
                  <a:shade val="30000"/>
                  <a:satMod val="115000"/>
                </a:schemeClr>
              </a:gs>
              <a:gs pos="50000">
                <a:schemeClr val="accent1">
                  <a:lumMod val="90000"/>
                  <a:shade val="67500"/>
                  <a:satMod val="115000"/>
                </a:schemeClr>
              </a:gs>
              <a:gs pos="100000">
                <a:schemeClr val="accent1">
                  <a:lumMod val="90000"/>
                  <a:shade val="100000"/>
                  <a:satMod val="115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Cadre 20">
            <a:extLst>
              <a:ext uri="{FF2B5EF4-FFF2-40B4-BE49-F238E27FC236}">
                <a16:creationId xmlns:a16="http://schemas.microsoft.com/office/drawing/2014/main" id="{CD0A875A-9B42-4CE9-8CD8-132D60947A0D}"/>
              </a:ext>
            </a:extLst>
          </p:cNvPr>
          <p:cNvSpPr>
            <a:spLocks noChangeAspect="1"/>
          </p:cNvSpPr>
          <p:nvPr/>
        </p:nvSpPr>
        <p:spPr>
          <a:xfrm>
            <a:off x="8872489" y="2899013"/>
            <a:ext cx="1976038" cy="3456915"/>
          </a:xfrm>
          <a:prstGeom prst="frame">
            <a:avLst>
              <a:gd name="adj1" fmla="val 8507"/>
            </a:avLst>
          </a:prstGeom>
          <a:solidFill>
            <a:srgbClr val="0070C0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F54FD8BD-5DAB-48BD-B11D-4DC81E6C37F8}"/>
              </a:ext>
            </a:extLst>
          </p:cNvPr>
          <p:cNvSpPr txBox="1"/>
          <p:nvPr/>
        </p:nvSpPr>
        <p:spPr>
          <a:xfrm>
            <a:off x="1415480" y="3475608"/>
            <a:ext cx="23042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chemeClr val="accent1">
                    <a:lumMod val="10000"/>
                  </a:schemeClr>
                </a:solidFill>
              </a:rPr>
              <a:t>Technique</a:t>
            </a:r>
            <a:endParaRPr lang="en-GB" sz="2400" dirty="0">
              <a:solidFill>
                <a:schemeClr val="accent1">
                  <a:lumMod val="10000"/>
                </a:schemeClr>
              </a:solidFill>
            </a:endParaRP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CFDF0467-452B-46F4-8CF0-E50D12D1A534}"/>
              </a:ext>
            </a:extLst>
          </p:cNvPr>
          <p:cNvSpPr>
            <a:spLocks noChangeAspect="1"/>
          </p:cNvSpPr>
          <p:nvPr/>
        </p:nvSpPr>
        <p:spPr>
          <a:xfrm>
            <a:off x="553604" y="2901871"/>
            <a:ext cx="8244239" cy="3456915"/>
          </a:xfrm>
          <a:prstGeom prst="frame">
            <a:avLst>
              <a:gd name="adj1" fmla="val 8507"/>
            </a:avLst>
          </a:prstGeom>
          <a:solidFill>
            <a:srgbClr val="FF0000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5A138FAE-7B0F-4CA1-A7B7-DDD650E060E7}"/>
              </a:ext>
            </a:extLst>
          </p:cNvPr>
          <p:cNvSpPr txBox="1"/>
          <p:nvPr/>
        </p:nvSpPr>
        <p:spPr>
          <a:xfrm>
            <a:off x="983432" y="2855746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Technical </a:t>
            </a:r>
            <a:r>
              <a:rPr lang="fr-FR" dirty="0" err="1"/>
              <a:t>Regulation</a:t>
            </a:r>
            <a:r>
              <a:rPr lang="fr-FR" dirty="0"/>
              <a:t> frame</a:t>
            </a:r>
            <a:endParaRPr lang="en-GB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9802C06-FC58-47C6-9C5D-F0E1C11DB428}"/>
              </a:ext>
            </a:extLst>
          </p:cNvPr>
          <p:cNvSpPr txBox="1"/>
          <p:nvPr/>
        </p:nvSpPr>
        <p:spPr>
          <a:xfrm>
            <a:off x="8490259" y="3483986"/>
            <a:ext cx="7560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HMI</a:t>
            </a:r>
            <a:endParaRPr lang="en-GB" sz="2400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CEB98D34-3867-437E-9504-6178310891D5}"/>
              </a:ext>
            </a:extLst>
          </p:cNvPr>
          <p:cNvSpPr txBox="1"/>
          <p:nvPr/>
        </p:nvSpPr>
        <p:spPr>
          <a:xfrm>
            <a:off x="9307252" y="3469789"/>
            <a:ext cx="14692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Driver</a:t>
            </a:r>
            <a:endParaRPr lang="en-GB" sz="2400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A70A60A-938F-4C82-AFF6-CF5EBBEBF771}"/>
              </a:ext>
            </a:extLst>
          </p:cNvPr>
          <p:cNvSpPr txBox="1"/>
          <p:nvPr/>
        </p:nvSpPr>
        <p:spPr>
          <a:xfrm>
            <a:off x="1415480" y="4784526"/>
            <a:ext cx="23042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 err="1"/>
              <a:t>Braking</a:t>
            </a:r>
            <a:r>
              <a:rPr lang="fr-FR" sz="2000" dirty="0"/>
              <a:t> system</a:t>
            </a:r>
          </a:p>
          <a:p>
            <a:r>
              <a:rPr lang="fr-FR" sz="2000" dirty="0" err="1"/>
              <a:t>Steering</a:t>
            </a:r>
            <a:r>
              <a:rPr lang="fr-FR" sz="2000" dirty="0"/>
              <a:t> system</a:t>
            </a:r>
          </a:p>
          <a:p>
            <a:r>
              <a:rPr lang="fr-FR" sz="2000" dirty="0"/>
              <a:t>…</a:t>
            </a:r>
            <a:endParaRPr lang="en-GB" sz="2000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F52E706-3ED7-4DC5-9237-339FD8CCCE28}"/>
              </a:ext>
            </a:extLst>
          </p:cNvPr>
          <p:cNvSpPr txBox="1"/>
          <p:nvPr/>
        </p:nvSpPr>
        <p:spPr>
          <a:xfrm>
            <a:off x="9163236" y="4762459"/>
            <a:ext cx="146926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/>
              <a:t>Strategic </a:t>
            </a:r>
            <a:r>
              <a:rPr lang="fr-FR" sz="2000" dirty="0" err="1"/>
              <a:t>decisions</a:t>
            </a:r>
            <a:endParaRPr lang="fr-FR" sz="2000" dirty="0"/>
          </a:p>
          <a:p>
            <a:endParaRPr lang="fr-FR" dirty="0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F6DD59FB-A7BA-4ECE-AE1E-A9D91BFCF897}"/>
              </a:ext>
            </a:extLst>
          </p:cNvPr>
          <p:cNvSpPr txBox="1"/>
          <p:nvPr/>
        </p:nvSpPr>
        <p:spPr>
          <a:xfrm>
            <a:off x="5807968" y="4077072"/>
            <a:ext cx="1704143" cy="1231106"/>
          </a:xfrm>
          <a:prstGeom prst="rect">
            <a:avLst/>
          </a:prstGeom>
          <a:solidFill>
            <a:srgbClr val="CD6C31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fr-FR" sz="2800" dirty="0" err="1"/>
              <a:t>Tactical</a:t>
            </a:r>
            <a:r>
              <a:rPr lang="fr-FR" sz="2800" dirty="0"/>
              <a:t> </a:t>
            </a:r>
            <a:r>
              <a:rPr lang="fr-FR" sz="2800" dirty="0" err="1"/>
              <a:t>decisions</a:t>
            </a:r>
            <a:endParaRPr lang="fr-FR" sz="2800" dirty="0"/>
          </a:p>
          <a:p>
            <a:endParaRPr lang="fr-FR" dirty="0"/>
          </a:p>
        </p:txBody>
      </p:sp>
      <p:sp>
        <p:nvSpPr>
          <p:cNvPr id="26" name="Rectangle 4">
            <a:extLst>
              <a:ext uri="{FF2B5EF4-FFF2-40B4-BE49-F238E27FC236}">
                <a16:creationId xmlns:a16="http://schemas.microsoft.com/office/drawing/2014/main" id="{064469BE-69FF-4C80-AB12-F0AE4FF952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pic>
        <p:nvPicPr>
          <p:cNvPr id="55" name="Graphique 54" descr="Homme">
            <a:extLst>
              <a:ext uri="{FF2B5EF4-FFF2-40B4-BE49-F238E27FC236}">
                <a16:creationId xmlns:a16="http://schemas.microsoft.com/office/drawing/2014/main" id="{F4940DD8-ADAC-44C3-8F86-7364D27DA0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62912" y="3934208"/>
            <a:ext cx="765536" cy="765536"/>
          </a:xfrm>
          <a:prstGeom prst="rect">
            <a:avLst/>
          </a:prstGeom>
        </p:spPr>
      </p:pic>
      <p:pic>
        <p:nvPicPr>
          <p:cNvPr id="57" name="Image 56">
            <a:extLst>
              <a:ext uri="{FF2B5EF4-FFF2-40B4-BE49-F238E27FC236}">
                <a16:creationId xmlns:a16="http://schemas.microsoft.com/office/drawing/2014/main" id="{33D8D110-FA23-4A3C-989A-65E39036F7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8696298" y="3877777"/>
            <a:ext cx="352381" cy="271303"/>
          </a:xfrm>
          <a:prstGeom prst="rect">
            <a:avLst/>
          </a:prstGeom>
        </p:spPr>
      </p:pic>
      <p:sp>
        <p:nvSpPr>
          <p:cNvPr id="23" name="ZoneTexte 22">
            <a:extLst>
              <a:ext uri="{FF2B5EF4-FFF2-40B4-BE49-F238E27FC236}">
                <a16:creationId xmlns:a16="http://schemas.microsoft.com/office/drawing/2014/main" id="{4FB7D3B0-9F32-4C0C-B6CA-9F321BA9EA36}"/>
              </a:ext>
            </a:extLst>
          </p:cNvPr>
          <p:cNvSpPr txBox="1"/>
          <p:nvPr/>
        </p:nvSpPr>
        <p:spPr>
          <a:xfrm>
            <a:off x="8945128" y="2494637"/>
            <a:ext cx="21485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Road Traffic </a:t>
            </a:r>
            <a:r>
              <a:rPr lang="fr-FR" dirty="0" err="1"/>
              <a:t>Regulation</a:t>
            </a:r>
            <a:r>
              <a:rPr lang="fr-FR" dirty="0"/>
              <a:t> frame</a:t>
            </a:r>
            <a:endParaRPr lang="en-GB" dirty="0"/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81AF2519-2D62-45AA-8BAF-D6D8AF6BA88A}"/>
              </a:ext>
            </a:extLst>
          </p:cNvPr>
          <p:cNvGrpSpPr/>
          <p:nvPr/>
        </p:nvGrpSpPr>
        <p:grpSpPr>
          <a:xfrm>
            <a:off x="1797520" y="4067357"/>
            <a:ext cx="767706" cy="560379"/>
            <a:chOff x="2058634" y="1001915"/>
            <a:chExt cx="1780736" cy="1258474"/>
          </a:xfrm>
        </p:grpSpPr>
        <p:sp>
          <p:nvSpPr>
            <p:cNvPr id="27" name="Rounded Rectangle 5">
              <a:extLst>
                <a:ext uri="{FF2B5EF4-FFF2-40B4-BE49-F238E27FC236}">
                  <a16:creationId xmlns:a16="http://schemas.microsoft.com/office/drawing/2014/main" id="{6DF57751-6C78-4055-9D6B-6C8E8B8495B0}"/>
                </a:ext>
              </a:extLst>
            </p:cNvPr>
            <p:cNvSpPr/>
            <p:nvPr/>
          </p:nvSpPr>
          <p:spPr>
            <a:xfrm>
              <a:off x="2201426" y="1001915"/>
              <a:ext cx="1498555" cy="1063474"/>
            </a:xfrm>
            <a:custGeom>
              <a:avLst/>
              <a:gdLst>
                <a:gd name="connsiteX0" fmla="*/ 0 w 333375"/>
                <a:gd name="connsiteY0" fmla="*/ 93665 h 337828"/>
                <a:gd name="connsiteX1" fmla="*/ 93665 w 333375"/>
                <a:gd name="connsiteY1" fmla="*/ 0 h 337828"/>
                <a:gd name="connsiteX2" fmla="*/ 239710 w 333375"/>
                <a:gd name="connsiteY2" fmla="*/ 0 h 337828"/>
                <a:gd name="connsiteX3" fmla="*/ 333375 w 333375"/>
                <a:gd name="connsiteY3" fmla="*/ 93665 h 337828"/>
                <a:gd name="connsiteX4" fmla="*/ 333375 w 333375"/>
                <a:gd name="connsiteY4" fmla="*/ 244163 h 337828"/>
                <a:gd name="connsiteX5" fmla="*/ 239710 w 333375"/>
                <a:gd name="connsiteY5" fmla="*/ 337828 h 337828"/>
                <a:gd name="connsiteX6" fmla="*/ 93665 w 333375"/>
                <a:gd name="connsiteY6" fmla="*/ 337828 h 337828"/>
                <a:gd name="connsiteX7" fmla="*/ 0 w 333375"/>
                <a:gd name="connsiteY7" fmla="*/ 244163 h 337828"/>
                <a:gd name="connsiteX8" fmla="*/ 0 w 333375"/>
                <a:gd name="connsiteY8" fmla="*/ 93665 h 337828"/>
                <a:gd name="connsiteX0" fmla="*/ 0 w 361950"/>
                <a:gd name="connsiteY0" fmla="*/ 93665 h 337828"/>
                <a:gd name="connsiteX1" fmla="*/ 93665 w 361950"/>
                <a:gd name="connsiteY1" fmla="*/ 0 h 337828"/>
                <a:gd name="connsiteX2" fmla="*/ 239710 w 361950"/>
                <a:gd name="connsiteY2" fmla="*/ 0 h 337828"/>
                <a:gd name="connsiteX3" fmla="*/ 361950 w 361950"/>
                <a:gd name="connsiteY3" fmla="*/ 91283 h 337828"/>
                <a:gd name="connsiteX4" fmla="*/ 333375 w 361950"/>
                <a:gd name="connsiteY4" fmla="*/ 244163 h 337828"/>
                <a:gd name="connsiteX5" fmla="*/ 239710 w 361950"/>
                <a:gd name="connsiteY5" fmla="*/ 337828 h 337828"/>
                <a:gd name="connsiteX6" fmla="*/ 93665 w 361950"/>
                <a:gd name="connsiteY6" fmla="*/ 337828 h 337828"/>
                <a:gd name="connsiteX7" fmla="*/ 0 w 361950"/>
                <a:gd name="connsiteY7" fmla="*/ 244163 h 337828"/>
                <a:gd name="connsiteX8" fmla="*/ 0 w 361950"/>
                <a:gd name="connsiteY8" fmla="*/ 93665 h 337828"/>
                <a:gd name="connsiteX0" fmla="*/ 0 w 369094"/>
                <a:gd name="connsiteY0" fmla="*/ 93665 h 373192"/>
                <a:gd name="connsiteX1" fmla="*/ 93665 w 369094"/>
                <a:gd name="connsiteY1" fmla="*/ 0 h 373192"/>
                <a:gd name="connsiteX2" fmla="*/ 239710 w 369094"/>
                <a:gd name="connsiteY2" fmla="*/ 0 h 373192"/>
                <a:gd name="connsiteX3" fmla="*/ 361950 w 369094"/>
                <a:gd name="connsiteY3" fmla="*/ 91283 h 373192"/>
                <a:gd name="connsiteX4" fmla="*/ 369094 w 369094"/>
                <a:gd name="connsiteY4" fmla="*/ 353700 h 373192"/>
                <a:gd name="connsiteX5" fmla="*/ 239710 w 369094"/>
                <a:gd name="connsiteY5" fmla="*/ 337828 h 373192"/>
                <a:gd name="connsiteX6" fmla="*/ 93665 w 369094"/>
                <a:gd name="connsiteY6" fmla="*/ 337828 h 373192"/>
                <a:gd name="connsiteX7" fmla="*/ 0 w 369094"/>
                <a:gd name="connsiteY7" fmla="*/ 244163 h 373192"/>
                <a:gd name="connsiteX8" fmla="*/ 0 w 369094"/>
                <a:gd name="connsiteY8" fmla="*/ 93665 h 373192"/>
                <a:gd name="connsiteX0" fmla="*/ 0 w 405426"/>
                <a:gd name="connsiteY0" fmla="*/ 93665 h 373192"/>
                <a:gd name="connsiteX1" fmla="*/ 93665 w 405426"/>
                <a:gd name="connsiteY1" fmla="*/ 0 h 373192"/>
                <a:gd name="connsiteX2" fmla="*/ 239710 w 405426"/>
                <a:gd name="connsiteY2" fmla="*/ 0 h 373192"/>
                <a:gd name="connsiteX3" fmla="*/ 361950 w 405426"/>
                <a:gd name="connsiteY3" fmla="*/ 91283 h 373192"/>
                <a:gd name="connsiteX4" fmla="*/ 369094 w 405426"/>
                <a:gd name="connsiteY4" fmla="*/ 353700 h 373192"/>
                <a:gd name="connsiteX5" fmla="*/ 239710 w 405426"/>
                <a:gd name="connsiteY5" fmla="*/ 337828 h 373192"/>
                <a:gd name="connsiteX6" fmla="*/ 93665 w 405426"/>
                <a:gd name="connsiteY6" fmla="*/ 337828 h 373192"/>
                <a:gd name="connsiteX7" fmla="*/ 0 w 405426"/>
                <a:gd name="connsiteY7" fmla="*/ 244163 h 373192"/>
                <a:gd name="connsiteX8" fmla="*/ 0 w 405426"/>
                <a:gd name="connsiteY8" fmla="*/ 93665 h 373192"/>
                <a:gd name="connsiteX0" fmla="*/ 0 w 412044"/>
                <a:gd name="connsiteY0" fmla="*/ 93665 h 373192"/>
                <a:gd name="connsiteX1" fmla="*/ 93665 w 412044"/>
                <a:gd name="connsiteY1" fmla="*/ 0 h 373192"/>
                <a:gd name="connsiteX2" fmla="*/ 239710 w 412044"/>
                <a:gd name="connsiteY2" fmla="*/ 0 h 373192"/>
                <a:gd name="connsiteX3" fmla="*/ 361950 w 412044"/>
                <a:gd name="connsiteY3" fmla="*/ 91283 h 373192"/>
                <a:gd name="connsiteX4" fmla="*/ 369094 w 412044"/>
                <a:gd name="connsiteY4" fmla="*/ 353700 h 373192"/>
                <a:gd name="connsiteX5" fmla="*/ 239710 w 412044"/>
                <a:gd name="connsiteY5" fmla="*/ 337828 h 373192"/>
                <a:gd name="connsiteX6" fmla="*/ 93665 w 412044"/>
                <a:gd name="connsiteY6" fmla="*/ 337828 h 373192"/>
                <a:gd name="connsiteX7" fmla="*/ 0 w 412044"/>
                <a:gd name="connsiteY7" fmla="*/ 244163 h 373192"/>
                <a:gd name="connsiteX8" fmla="*/ 0 w 412044"/>
                <a:gd name="connsiteY8" fmla="*/ 93665 h 373192"/>
                <a:gd name="connsiteX0" fmla="*/ 0 w 417068"/>
                <a:gd name="connsiteY0" fmla="*/ 93665 h 369364"/>
                <a:gd name="connsiteX1" fmla="*/ 93665 w 417068"/>
                <a:gd name="connsiteY1" fmla="*/ 0 h 369364"/>
                <a:gd name="connsiteX2" fmla="*/ 239710 w 417068"/>
                <a:gd name="connsiteY2" fmla="*/ 0 h 369364"/>
                <a:gd name="connsiteX3" fmla="*/ 361950 w 417068"/>
                <a:gd name="connsiteY3" fmla="*/ 91283 h 369364"/>
                <a:gd name="connsiteX4" fmla="*/ 376238 w 417068"/>
                <a:gd name="connsiteY4" fmla="*/ 348938 h 369364"/>
                <a:gd name="connsiteX5" fmla="*/ 239710 w 417068"/>
                <a:gd name="connsiteY5" fmla="*/ 337828 h 369364"/>
                <a:gd name="connsiteX6" fmla="*/ 93665 w 417068"/>
                <a:gd name="connsiteY6" fmla="*/ 337828 h 369364"/>
                <a:gd name="connsiteX7" fmla="*/ 0 w 417068"/>
                <a:gd name="connsiteY7" fmla="*/ 244163 h 369364"/>
                <a:gd name="connsiteX8" fmla="*/ 0 w 417068"/>
                <a:gd name="connsiteY8" fmla="*/ 93665 h 369364"/>
                <a:gd name="connsiteX0" fmla="*/ 0 w 407569"/>
                <a:gd name="connsiteY0" fmla="*/ 93665 h 369364"/>
                <a:gd name="connsiteX1" fmla="*/ 93665 w 407569"/>
                <a:gd name="connsiteY1" fmla="*/ 0 h 369364"/>
                <a:gd name="connsiteX2" fmla="*/ 239710 w 407569"/>
                <a:gd name="connsiteY2" fmla="*/ 0 h 369364"/>
                <a:gd name="connsiteX3" fmla="*/ 361950 w 407569"/>
                <a:gd name="connsiteY3" fmla="*/ 91283 h 369364"/>
                <a:gd name="connsiteX4" fmla="*/ 376238 w 407569"/>
                <a:gd name="connsiteY4" fmla="*/ 348938 h 369364"/>
                <a:gd name="connsiteX5" fmla="*/ 239710 w 407569"/>
                <a:gd name="connsiteY5" fmla="*/ 337828 h 369364"/>
                <a:gd name="connsiteX6" fmla="*/ 93665 w 407569"/>
                <a:gd name="connsiteY6" fmla="*/ 337828 h 369364"/>
                <a:gd name="connsiteX7" fmla="*/ 0 w 407569"/>
                <a:gd name="connsiteY7" fmla="*/ 244163 h 369364"/>
                <a:gd name="connsiteX8" fmla="*/ 0 w 407569"/>
                <a:gd name="connsiteY8" fmla="*/ 93665 h 369364"/>
                <a:gd name="connsiteX0" fmla="*/ 0 w 401248"/>
                <a:gd name="connsiteY0" fmla="*/ 93665 h 369364"/>
                <a:gd name="connsiteX1" fmla="*/ 93665 w 401248"/>
                <a:gd name="connsiteY1" fmla="*/ 0 h 369364"/>
                <a:gd name="connsiteX2" fmla="*/ 239710 w 401248"/>
                <a:gd name="connsiteY2" fmla="*/ 0 h 369364"/>
                <a:gd name="connsiteX3" fmla="*/ 361950 w 401248"/>
                <a:gd name="connsiteY3" fmla="*/ 91283 h 369364"/>
                <a:gd name="connsiteX4" fmla="*/ 376238 w 401248"/>
                <a:gd name="connsiteY4" fmla="*/ 348938 h 369364"/>
                <a:gd name="connsiteX5" fmla="*/ 239710 w 401248"/>
                <a:gd name="connsiteY5" fmla="*/ 337828 h 369364"/>
                <a:gd name="connsiteX6" fmla="*/ 93665 w 401248"/>
                <a:gd name="connsiteY6" fmla="*/ 337828 h 369364"/>
                <a:gd name="connsiteX7" fmla="*/ 0 w 401248"/>
                <a:gd name="connsiteY7" fmla="*/ 244163 h 369364"/>
                <a:gd name="connsiteX8" fmla="*/ 0 w 401248"/>
                <a:gd name="connsiteY8" fmla="*/ 93665 h 369364"/>
                <a:gd name="connsiteX0" fmla="*/ 0 w 405461"/>
                <a:gd name="connsiteY0" fmla="*/ 93665 h 369364"/>
                <a:gd name="connsiteX1" fmla="*/ 93665 w 405461"/>
                <a:gd name="connsiteY1" fmla="*/ 0 h 369364"/>
                <a:gd name="connsiteX2" fmla="*/ 239710 w 405461"/>
                <a:gd name="connsiteY2" fmla="*/ 0 h 369364"/>
                <a:gd name="connsiteX3" fmla="*/ 361950 w 405461"/>
                <a:gd name="connsiteY3" fmla="*/ 91283 h 369364"/>
                <a:gd name="connsiteX4" fmla="*/ 376238 w 405461"/>
                <a:gd name="connsiteY4" fmla="*/ 348938 h 369364"/>
                <a:gd name="connsiteX5" fmla="*/ 239710 w 405461"/>
                <a:gd name="connsiteY5" fmla="*/ 337828 h 369364"/>
                <a:gd name="connsiteX6" fmla="*/ 93665 w 405461"/>
                <a:gd name="connsiteY6" fmla="*/ 337828 h 369364"/>
                <a:gd name="connsiteX7" fmla="*/ 0 w 405461"/>
                <a:gd name="connsiteY7" fmla="*/ 244163 h 369364"/>
                <a:gd name="connsiteX8" fmla="*/ 0 w 405461"/>
                <a:gd name="connsiteY8" fmla="*/ 93665 h 369364"/>
                <a:gd name="connsiteX0" fmla="*/ 0 w 409271"/>
                <a:gd name="connsiteY0" fmla="*/ 93665 h 369364"/>
                <a:gd name="connsiteX1" fmla="*/ 93665 w 409271"/>
                <a:gd name="connsiteY1" fmla="*/ 0 h 369364"/>
                <a:gd name="connsiteX2" fmla="*/ 239710 w 409271"/>
                <a:gd name="connsiteY2" fmla="*/ 0 h 369364"/>
                <a:gd name="connsiteX3" fmla="*/ 361950 w 409271"/>
                <a:gd name="connsiteY3" fmla="*/ 91283 h 369364"/>
                <a:gd name="connsiteX4" fmla="*/ 376238 w 409271"/>
                <a:gd name="connsiteY4" fmla="*/ 348938 h 369364"/>
                <a:gd name="connsiteX5" fmla="*/ 239710 w 409271"/>
                <a:gd name="connsiteY5" fmla="*/ 337828 h 369364"/>
                <a:gd name="connsiteX6" fmla="*/ 93665 w 409271"/>
                <a:gd name="connsiteY6" fmla="*/ 337828 h 369364"/>
                <a:gd name="connsiteX7" fmla="*/ 0 w 409271"/>
                <a:gd name="connsiteY7" fmla="*/ 244163 h 369364"/>
                <a:gd name="connsiteX8" fmla="*/ 0 w 409271"/>
                <a:gd name="connsiteY8" fmla="*/ 93665 h 369364"/>
                <a:gd name="connsiteX0" fmla="*/ 0 w 444989"/>
                <a:gd name="connsiteY0" fmla="*/ 91284 h 369364"/>
                <a:gd name="connsiteX1" fmla="*/ 129383 w 444989"/>
                <a:gd name="connsiteY1" fmla="*/ 0 h 369364"/>
                <a:gd name="connsiteX2" fmla="*/ 275428 w 444989"/>
                <a:gd name="connsiteY2" fmla="*/ 0 h 369364"/>
                <a:gd name="connsiteX3" fmla="*/ 397668 w 444989"/>
                <a:gd name="connsiteY3" fmla="*/ 91283 h 369364"/>
                <a:gd name="connsiteX4" fmla="*/ 411956 w 444989"/>
                <a:gd name="connsiteY4" fmla="*/ 348938 h 369364"/>
                <a:gd name="connsiteX5" fmla="*/ 275428 w 444989"/>
                <a:gd name="connsiteY5" fmla="*/ 337828 h 369364"/>
                <a:gd name="connsiteX6" fmla="*/ 129383 w 444989"/>
                <a:gd name="connsiteY6" fmla="*/ 337828 h 369364"/>
                <a:gd name="connsiteX7" fmla="*/ 35718 w 444989"/>
                <a:gd name="connsiteY7" fmla="*/ 244163 h 369364"/>
                <a:gd name="connsiteX8" fmla="*/ 0 w 444989"/>
                <a:gd name="connsiteY8" fmla="*/ 91284 h 369364"/>
                <a:gd name="connsiteX0" fmla="*/ 0 w 444989"/>
                <a:gd name="connsiteY0" fmla="*/ 91284 h 369364"/>
                <a:gd name="connsiteX1" fmla="*/ 129383 w 444989"/>
                <a:gd name="connsiteY1" fmla="*/ 0 h 369364"/>
                <a:gd name="connsiteX2" fmla="*/ 275428 w 444989"/>
                <a:gd name="connsiteY2" fmla="*/ 0 h 369364"/>
                <a:gd name="connsiteX3" fmla="*/ 397668 w 444989"/>
                <a:gd name="connsiteY3" fmla="*/ 91283 h 369364"/>
                <a:gd name="connsiteX4" fmla="*/ 411956 w 444989"/>
                <a:gd name="connsiteY4" fmla="*/ 348938 h 369364"/>
                <a:gd name="connsiteX5" fmla="*/ 275428 w 444989"/>
                <a:gd name="connsiteY5" fmla="*/ 337828 h 369364"/>
                <a:gd name="connsiteX6" fmla="*/ 129383 w 444989"/>
                <a:gd name="connsiteY6" fmla="*/ 337828 h 369364"/>
                <a:gd name="connsiteX7" fmla="*/ 35718 w 444989"/>
                <a:gd name="connsiteY7" fmla="*/ 244163 h 369364"/>
                <a:gd name="connsiteX8" fmla="*/ 0 w 444989"/>
                <a:gd name="connsiteY8" fmla="*/ 91284 h 369364"/>
                <a:gd name="connsiteX0" fmla="*/ 0 w 444989"/>
                <a:gd name="connsiteY0" fmla="*/ 91284 h 369364"/>
                <a:gd name="connsiteX1" fmla="*/ 129383 w 444989"/>
                <a:gd name="connsiteY1" fmla="*/ 0 h 369364"/>
                <a:gd name="connsiteX2" fmla="*/ 275428 w 444989"/>
                <a:gd name="connsiteY2" fmla="*/ 0 h 369364"/>
                <a:gd name="connsiteX3" fmla="*/ 397668 w 444989"/>
                <a:gd name="connsiteY3" fmla="*/ 91283 h 369364"/>
                <a:gd name="connsiteX4" fmla="*/ 411956 w 444989"/>
                <a:gd name="connsiteY4" fmla="*/ 348938 h 369364"/>
                <a:gd name="connsiteX5" fmla="*/ 275428 w 444989"/>
                <a:gd name="connsiteY5" fmla="*/ 337828 h 369364"/>
                <a:gd name="connsiteX6" fmla="*/ 129383 w 444989"/>
                <a:gd name="connsiteY6" fmla="*/ 337828 h 369364"/>
                <a:gd name="connsiteX7" fmla="*/ 35718 w 444989"/>
                <a:gd name="connsiteY7" fmla="*/ 244163 h 369364"/>
                <a:gd name="connsiteX8" fmla="*/ 0 w 444989"/>
                <a:gd name="connsiteY8" fmla="*/ 91284 h 369364"/>
                <a:gd name="connsiteX0" fmla="*/ 51 w 445040"/>
                <a:gd name="connsiteY0" fmla="*/ 91284 h 369364"/>
                <a:gd name="connsiteX1" fmla="*/ 129434 w 445040"/>
                <a:gd name="connsiteY1" fmla="*/ 0 h 369364"/>
                <a:gd name="connsiteX2" fmla="*/ 275479 w 445040"/>
                <a:gd name="connsiteY2" fmla="*/ 0 h 369364"/>
                <a:gd name="connsiteX3" fmla="*/ 397719 w 445040"/>
                <a:gd name="connsiteY3" fmla="*/ 91283 h 369364"/>
                <a:gd name="connsiteX4" fmla="*/ 412007 w 445040"/>
                <a:gd name="connsiteY4" fmla="*/ 348938 h 369364"/>
                <a:gd name="connsiteX5" fmla="*/ 275479 w 445040"/>
                <a:gd name="connsiteY5" fmla="*/ 337828 h 369364"/>
                <a:gd name="connsiteX6" fmla="*/ 129434 w 445040"/>
                <a:gd name="connsiteY6" fmla="*/ 337828 h 369364"/>
                <a:gd name="connsiteX7" fmla="*/ 35769 w 445040"/>
                <a:gd name="connsiteY7" fmla="*/ 244163 h 369364"/>
                <a:gd name="connsiteX8" fmla="*/ 51 w 445040"/>
                <a:gd name="connsiteY8" fmla="*/ 91284 h 369364"/>
                <a:gd name="connsiteX0" fmla="*/ 9526 w 454515"/>
                <a:gd name="connsiteY0" fmla="*/ 91284 h 373192"/>
                <a:gd name="connsiteX1" fmla="*/ 138909 w 454515"/>
                <a:gd name="connsiteY1" fmla="*/ 0 h 373192"/>
                <a:gd name="connsiteX2" fmla="*/ 284954 w 454515"/>
                <a:gd name="connsiteY2" fmla="*/ 0 h 373192"/>
                <a:gd name="connsiteX3" fmla="*/ 407194 w 454515"/>
                <a:gd name="connsiteY3" fmla="*/ 91283 h 373192"/>
                <a:gd name="connsiteX4" fmla="*/ 421482 w 454515"/>
                <a:gd name="connsiteY4" fmla="*/ 348938 h 373192"/>
                <a:gd name="connsiteX5" fmla="*/ 284954 w 454515"/>
                <a:gd name="connsiteY5" fmla="*/ 337828 h 373192"/>
                <a:gd name="connsiteX6" fmla="*/ 138909 w 454515"/>
                <a:gd name="connsiteY6" fmla="*/ 337828 h 373192"/>
                <a:gd name="connsiteX7" fmla="*/ 0 w 454515"/>
                <a:gd name="connsiteY7" fmla="*/ 353701 h 373192"/>
                <a:gd name="connsiteX8" fmla="*/ 9526 w 454515"/>
                <a:gd name="connsiteY8" fmla="*/ 91284 h 373192"/>
                <a:gd name="connsiteX0" fmla="*/ 49818 w 494807"/>
                <a:gd name="connsiteY0" fmla="*/ 91284 h 373192"/>
                <a:gd name="connsiteX1" fmla="*/ 179201 w 494807"/>
                <a:gd name="connsiteY1" fmla="*/ 0 h 373192"/>
                <a:gd name="connsiteX2" fmla="*/ 325246 w 494807"/>
                <a:gd name="connsiteY2" fmla="*/ 0 h 373192"/>
                <a:gd name="connsiteX3" fmla="*/ 447486 w 494807"/>
                <a:gd name="connsiteY3" fmla="*/ 91283 h 373192"/>
                <a:gd name="connsiteX4" fmla="*/ 461774 w 494807"/>
                <a:gd name="connsiteY4" fmla="*/ 348938 h 373192"/>
                <a:gd name="connsiteX5" fmla="*/ 325246 w 494807"/>
                <a:gd name="connsiteY5" fmla="*/ 337828 h 373192"/>
                <a:gd name="connsiteX6" fmla="*/ 179201 w 494807"/>
                <a:gd name="connsiteY6" fmla="*/ 337828 h 373192"/>
                <a:gd name="connsiteX7" fmla="*/ 40292 w 494807"/>
                <a:gd name="connsiteY7" fmla="*/ 353701 h 373192"/>
                <a:gd name="connsiteX8" fmla="*/ 49818 w 494807"/>
                <a:gd name="connsiteY8" fmla="*/ 91284 h 373192"/>
                <a:gd name="connsiteX0" fmla="*/ 43482 w 488471"/>
                <a:gd name="connsiteY0" fmla="*/ 91284 h 373192"/>
                <a:gd name="connsiteX1" fmla="*/ 172865 w 488471"/>
                <a:gd name="connsiteY1" fmla="*/ 0 h 373192"/>
                <a:gd name="connsiteX2" fmla="*/ 318910 w 488471"/>
                <a:gd name="connsiteY2" fmla="*/ 0 h 373192"/>
                <a:gd name="connsiteX3" fmla="*/ 441150 w 488471"/>
                <a:gd name="connsiteY3" fmla="*/ 91283 h 373192"/>
                <a:gd name="connsiteX4" fmla="*/ 455438 w 488471"/>
                <a:gd name="connsiteY4" fmla="*/ 348938 h 373192"/>
                <a:gd name="connsiteX5" fmla="*/ 318910 w 488471"/>
                <a:gd name="connsiteY5" fmla="*/ 337828 h 373192"/>
                <a:gd name="connsiteX6" fmla="*/ 172865 w 488471"/>
                <a:gd name="connsiteY6" fmla="*/ 337828 h 373192"/>
                <a:gd name="connsiteX7" fmla="*/ 33956 w 488471"/>
                <a:gd name="connsiteY7" fmla="*/ 353701 h 373192"/>
                <a:gd name="connsiteX8" fmla="*/ 43482 w 488471"/>
                <a:gd name="connsiteY8" fmla="*/ 91284 h 373192"/>
                <a:gd name="connsiteX0" fmla="*/ 47717 w 492706"/>
                <a:gd name="connsiteY0" fmla="*/ 91284 h 373192"/>
                <a:gd name="connsiteX1" fmla="*/ 177100 w 492706"/>
                <a:gd name="connsiteY1" fmla="*/ 0 h 373192"/>
                <a:gd name="connsiteX2" fmla="*/ 323145 w 492706"/>
                <a:gd name="connsiteY2" fmla="*/ 0 h 373192"/>
                <a:gd name="connsiteX3" fmla="*/ 445385 w 492706"/>
                <a:gd name="connsiteY3" fmla="*/ 91283 h 373192"/>
                <a:gd name="connsiteX4" fmla="*/ 459673 w 492706"/>
                <a:gd name="connsiteY4" fmla="*/ 348938 h 373192"/>
                <a:gd name="connsiteX5" fmla="*/ 323145 w 492706"/>
                <a:gd name="connsiteY5" fmla="*/ 337828 h 373192"/>
                <a:gd name="connsiteX6" fmla="*/ 177100 w 492706"/>
                <a:gd name="connsiteY6" fmla="*/ 337828 h 373192"/>
                <a:gd name="connsiteX7" fmla="*/ 38191 w 492706"/>
                <a:gd name="connsiteY7" fmla="*/ 353701 h 373192"/>
                <a:gd name="connsiteX8" fmla="*/ 47717 w 492706"/>
                <a:gd name="connsiteY8" fmla="*/ 91284 h 373192"/>
                <a:gd name="connsiteX0" fmla="*/ 46590 w 491579"/>
                <a:gd name="connsiteY0" fmla="*/ 91284 h 373192"/>
                <a:gd name="connsiteX1" fmla="*/ 175973 w 491579"/>
                <a:gd name="connsiteY1" fmla="*/ 0 h 373192"/>
                <a:gd name="connsiteX2" fmla="*/ 322018 w 491579"/>
                <a:gd name="connsiteY2" fmla="*/ 0 h 373192"/>
                <a:gd name="connsiteX3" fmla="*/ 444258 w 491579"/>
                <a:gd name="connsiteY3" fmla="*/ 91283 h 373192"/>
                <a:gd name="connsiteX4" fmla="*/ 458546 w 491579"/>
                <a:gd name="connsiteY4" fmla="*/ 348938 h 373192"/>
                <a:gd name="connsiteX5" fmla="*/ 322018 w 491579"/>
                <a:gd name="connsiteY5" fmla="*/ 337828 h 373192"/>
                <a:gd name="connsiteX6" fmla="*/ 175973 w 491579"/>
                <a:gd name="connsiteY6" fmla="*/ 337828 h 373192"/>
                <a:gd name="connsiteX7" fmla="*/ 37064 w 491579"/>
                <a:gd name="connsiteY7" fmla="*/ 353701 h 373192"/>
                <a:gd name="connsiteX8" fmla="*/ 46590 w 491579"/>
                <a:gd name="connsiteY8" fmla="*/ 91284 h 373192"/>
                <a:gd name="connsiteX0" fmla="*/ 46590 w 491579"/>
                <a:gd name="connsiteY0" fmla="*/ 91284 h 378227"/>
                <a:gd name="connsiteX1" fmla="*/ 175973 w 491579"/>
                <a:gd name="connsiteY1" fmla="*/ 0 h 378227"/>
                <a:gd name="connsiteX2" fmla="*/ 322018 w 491579"/>
                <a:gd name="connsiteY2" fmla="*/ 0 h 378227"/>
                <a:gd name="connsiteX3" fmla="*/ 444258 w 491579"/>
                <a:gd name="connsiteY3" fmla="*/ 91283 h 378227"/>
                <a:gd name="connsiteX4" fmla="*/ 458546 w 491579"/>
                <a:gd name="connsiteY4" fmla="*/ 348938 h 378227"/>
                <a:gd name="connsiteX5" fmla="*/ 322018 w 491579"/>
                <a:gd name="connsiteY5" fmla="*/ 337828 h 378227"/>
                <a:gd name="connsiteX6" fmla="*/ 111679 w 491579"/>
                <a:gd name="connsiteY6" fmla="*/ 359259 h 378227"/>
                <a:gd name="connsiteX7" fmla="*/ 37064 w 491579"/>
                <a:gd name="connsiteY7" fmla="*/ 353701 h 378227"/>
                <a:gd name="connsiteX8" fmla="*/ 46590 w 491579"/>
                <a:gd name="connsiteY8" fmla="*/ 91284 h 378227"/>
                <a:gd name="connsiteX0" fmla="*/ 46590 w 491579"/>
                <a:gd name="connsiteY0" fmla="*/ 91284 h 378227"/>
                <a:gd name="connsiteX1" fmla="*/ 175973 w 491579"/>
                <a:gd name="connsiteY1" fmla="*/ 0 h 378227"/>
                <a:gd name="connsiteX2" fmla="*/ 322018 w 491579"/>
                <a:gd name="connsiteY2" fmla="*/ 0 h 378227"/>
                <a:gd name="connsiteX3" fmla="*/ 444258 w 491579"/>
                <a:gd name="connsiteY3" fmla="*/ 91283 h 378227"/>
                <a:gd name="connsiteX4" fmla="*/ 458546 w 491579"/>
                <a:gd name="connsiteY4" fmla="*/ 348938 h 378227"/>
                <a:gd name="connsiteX5" fmla="*/ 372025 w 491579"/>
                <a:gd name="connsiteY5" fmla="*/ 359259 h 378227"/>
                <a:gd name="connsiteX6" fmla="*/ 111679 w 491579"/>
                <a:gd name="connsiteY6" fmla="*/ 359259 h 378227"/>
                <a:gd name="connsiteX7" fmla="*/ 37064 w 491579"/>
                <a:gd name="connsiteY7" fmla="*/ 353701 h 378227"/>
                <a:gd name="connsiteX8" fmla="*/ 46590 w 491579"/>
                <a:gd name="connsiteY8" fmla="*/ 91284 h 378227"/>
                <a:gd name="connsiteX0" fmla="*/ 39838 w 484827"/>
                <a:gd name="connsiteY0" fmla="*/ 91284 h 390796"/>
                <a:gd name="connsiteX1" fmla="*/ 169221 w 484827"/>
                <a:gd name="connsiteY1" fmla="*/ 0 h 390796"/>
                <a:gd name="connsiteX2" fmla="*/ 315266 w 484827"/>
                <a:gd name="connsiteY2" fmla="*/ 0 h 390796"/>
                <a:gd name="connsiteX3" fmla="*/ 437506 w 484827"/>
                <a:gd name="connsiteY3" fmla="*/ 91283 h 390796"/>
                <a:gd name="connsiteX4" fmla="*/ 451794 w 484827"/>
                <a:gd name="connsiteY4" fmla="*/ 348938 h 390796"/>
                <a:gd name="connsiteX5" fmla="*/ 365273 w 484827"/>
                <a:gd name="connsiteY5" fmla="*/ 359259 h 390796"/>
                <a:gd name="connsiteX6" fmla="*/ 104927 w 484827"/>
                <a:gd name="connsiteY6" fmla="*/ 359259 h 390796"/>
                <a:gd name="connsiteX7" fmla="*/ 39837 w 484827"/>
                <a:gd name="connsiteY7" fmla="*/ 370370 h 390796"/>
                <a:gd name="connsiteX8" fmla="*/ 39838 w 484827"/>
                <a:gd name="connsiteY8" fmla="*/ 91284 h 390796"/>
                <a:gd name="connsiteX0" fmla="*/ 44035 w 489024"/>
                <a:gd name="connsiteY0" fmla="*/ 91284 h 390796"/>
                <a:gd name="connsiteX1" fmla="*/ 173418 w 489024"/>
                <a:gd name="connsiteY1" fmla="*/ 0 h 390796"/>
                <a:gd name="connsiteX2" fmla="*/ 319463 w 489024"/>
                <a:gd name="connsiteY2" fmla="*/ 0 h 390796"/>
                <a:gd name="connsiteX3" fmla="*/ 441703 w 489024"/>
                <a:gd name="connsiteY3" fmla="*/ 91283 h 390796"/>
                <a:gd name="connsiteX4" fmla="*/ 455991 w 489024"/>
                <a:gd name="connsiteY4" fmla="*/ 348938 h 390796"/>
                <a:gd name="connsiteX5" fmla="*/ 369470 w 489024"/>
                <a:gd name="connsiteY5" fmla="*/ 359259 h 390796"/>
                <a:gd name="connsiteX6" fmla="*/ 109124 w 489024"/>
                <a:gd name="connsiteY6" fmla="*/ 359259 h 390796"/>
                <a:gd name="connsiteX7" fmla="*/ 44034 w 489024"/>
                <a:gd name="connsiteY7" fmla="*/ 370370 h 390796"/>
                <a:gd name="connsiteX8" fmla="*/ 44035 w 489024"/>
                <a:gd name="connsiteY8" fmla="*/ 91284 h 390796"/>
                <a:gd name="connsiteX0" fmla="*/ 42394 w 487383"/>
                <a:gd name="connsiteY0" fmla="*/ 91284 h 376566"/>
                <a:gd name="connsiteX1" fmla="*/ 171777 w 487383"/>
                <a:gd name="connsiteY1" fmla="*/ 0 h 376566"/>
                <a:gd name="connsiteX2" fmla="*/ 317822 w 487383"/>
                <a:gd name="connsiteY2" fmla="*/ 0 h 376566"/>
                <a:gd name="connsiteX3" fmla="*/ 440062 w 487383"/>
                <a:gd name="connsiteY3" fmla="*/ 91283 h 376566"/>
                <a:gd name="connsiteX4" fmla="*/ 454350 w 487383"/>
                <a:gd name="connsiteY4" fmla="*/ 348938 h 376566"/>
                <a:gd name="connsiteX5" fmla="*/ 367829 w 487383"/>
                <a:gd name="connsiteY5" fmla="*/ 359259 h 376566"/>
                <a:gd name="connsiteX6" fmla="*/ 107483 w 487383"/>
                <a:gd name="connsiteY6" fmla="*/ 359259 h 376566"/>
                <a:gd name="connsiteX7" fmla="*/ 44774 w 487383"/>
                <a:gd name="connsiteY7" fmla="*/ 351320 h 376566"/>
                <a:gd name="connsiteX8" fmla="*/ 42394 w 487383"/>
                <a:gd name="connsiteY8" fmla="*/ 91284 h 376566"/>
                <a:gd name="connsiteX0" fmla="*/ 42394 w 487383"/>
                <a:gd name="connsiteY0" fmla="*/ 91284 h 374947"/>
                <a:gd name="connsiteX1" fmla="*/ 171777 w 487383"/>
                <a:gd name="connsiteY1" fmla="*/ 0 h 374947"/>
                <a:gd name="connsiteX2" fmla="*/ 317822 w 487383"/>
                <a:gd name="connsiteY2" fmla="*/ 0 h 374947"/>
                <a:gd name="connsiteX3" fmla="*/ 440062 w 487383"/>
                <a:gd name="connsiteY3" fmla="*/ 91283 h 374947"/>
                <a:gd name="connsiteX4" fmla="*/ 454350 w 487383"/>
                <a:gd name="connsiteY4" fmla="*/ 348938 h 374947"/>
                <a:gd name="connsiteX5" fmla="*/ 367829 w 487383"/>
                <a:gd name="connsiteY5" fmla="*/ 359259 h 374947"/>
                <a:gd name="connsiteX6" fmla="*/ 107483 w 487383"/>
                <a:gd name="connsiteY6" fmla="*/ 359259 h 374947"/>
                <a:gd name="connsiteX7" fmla="*/ 44774 w 487383"/>
                <a:gd name="connsiteY7" fmla="*/ 351320 h 374947"/>
                <a:gd name="connsiteX8" fmla="*/ 42394 w 487383"/>
                <a:gd name="connsiteY8" fmla="*/ 91284 h 374947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48938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48938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63225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63225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63225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  <a:gd name="connsiteX0" fmla="*/ 50820 w 495809"/>
                <a:gd name="connsiteY0" fmla="*/ 91284 h 377445"/>
                <a:gd name="connsiteX1" fmla="*/ 180203 w 495809"/>
                <a:gd name="connsiteY1" fmla="*/ 0 h 377445"/>
                <a:gd name="connsiteX2" fmla="*/ 326248 w 495809"/>
                <a:gd name="connsiteY2" fmla="*/ 0 h 377445"/>
                <a:gd name="connsiteX3" fmla="*/ 448488 w 495809"/>
                <a:gd name="connsiteY3" fmla="*/ 91283 h 377445"/>
                <a:gd name="connsiteX4" fmla="*/ 462776 w 495809"/>
                <a:gd name="connsiteY4" fmla="*/ 363225 h 377445"/>
                <a:gd name="connsiteX5" fmla="*/ 376255 w 495809"/>
                <a:gd name="connsiteY5" fmla="*/ 359259 h 377445"/>
                <a:gd name="connsiteX6" fmla="*/ 115909 w 495809"/>
                <a:gd name="connsiteY6" fmla="*/ 359259 h 377445"/>
                <a:gd name="connsiteX7" fmla="*/ 41294 w 495809"/>
                <a:gd name="connsiteY7" fmla="*/ 367988 h 377445"/>
                <a:gd name="connsiteX8" fmla="*/ 50820 w 495809"/>
                <a:gd name="connsiteY8" fmla="*/ 91284 h 37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95809" h="377445">
                  <a:moveTo>
                    <a:pt x="50820" y="91284"/>
                  </a:moveTo>
                  <a:cubicBezTo>
                    <a:pt x="107970" y="8598"/>
                    <a:pt x="128473" y="0"/>
                    <a:pt x="180203" y="0"/>
                  </a:cubicBezTo>
                  <a:lnTo>
                    <a:pt x="326248" y="0"/>
                  </a:lnTo>
                  <a:cubicBezTo>
                    <a:pt x="377978" y="0"/>
                    <a:pt x="400864" y="1453"/>
                    <a:pt x="448488" y="91283"/>
                  </a:cubicBezTo>
                  <a:cubicBezTo>
                    <a:pt x="491350" y="146211"/>
                    <a:pt x="522307" y="291627"/>
                    <a:pt x="462776" y="363225"/>
                  </a:cubicBezTo>
                  <a:cubicBezTo>
                    <a:pt x="417532" y="386380"/>
                    <a:pt x="427985" y="359259"/>
                    <a:pt x="376255" y="359259"/>
                  </a:cubicBezTo>
                  <a:lnTo>
                    <a:pt x="115909" y="359259"/>
                  </a:lnTo>
                  <a:cubicBezTo>
                    <a:pt x="64179" y="359259"/>
                    <a:pt x="65106" y="393524"/>
                    <a:pt x="41294" y="367988"/>
                  </a:cubicBezTo>
                  <a:cubicBezTo>
                    <a:pt x="-48399" y="275755"/>
                    <a:pt x="33358" y="121607"/>
                    <a:pt x="50820" y="91284"/>
                  </a:cubicBez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ounded Rectangle 32">
              <a:extLst>
                <a:ext uri="{FF2B5EF4-FFF2-40B4-BE49-F238E27FC236}">
                  <a16:creationId xmlns:a16="http://schemas.microsoft.com/office/drawing/2014/main" id="{AB2942F0-8AC1-480B-B9B0-D69B8DF52273}"/>
                </a:ext>
              </a:extLst>
            </p:cNvPr>
            <p:cNvSpPr/>
            <p:nvPr/>
          </p:nvSpPr>
          <p:spPr>
            <a:xfrm>
              <a:off x="3342293" y="1973894"/>
              <a:ext cx="250663" cy="286495"/>
            </a:xfrm>
            <a:prstGeom prst="round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ounded Rectangle 33">
              <a:extLst>
                <a:ext uri="{FF2B5EF4-FFF2-40B4-BE49-F238E27FC236}">
                  <a16:creationId xmlns:a16="http://schemas.microsoft.com/office/drawing/2014/main" id="{CDCB6CF3-14CA-4E09-AC56-D307E4315707}"/>
                </a:ext>
              </a:extLst>
            </p:cNvPr>
            <p:cNvSpPr/>
            <p:nvPr/>
          </p:nvSpPr>
          <p:spPr>
            <a:xfrm>
              <a:off x="2303328" y="1960474"/>
              <a:ext cx="250663" cy="286495"/>
            </a:xfrm>
            <a:prstGeom prst="round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8">
              <a:extLst>
                <a:ext uri="{FF2B5EF4-FFF2-40B4-BE49-F238E27FC236}">
                  <a16:creationId xmlns:a16="http://schemas.microsoft.com/office/drawing/2014/main" id="{EA83E3D9-35EC-473F-AF8B-F6E833265035}"/>
                </a:ext>
              </a:extLst>
            </p:cNvPr>
            <p:cNvSpPr/>
            <p:nvPr/>
          </p:nvSpPr>
          <p:spPr>
            <a:xfrm>
              <a:off x="3567737" y="1363343"/>
              <a:ext cx="271633" cy="174444"/>
            </a:xfrm>
            <a:custGeom>
              <a:avLst/>
              <a:gdLst>
                <a:gd name="connsiteX0" fmla="*/ 0 w 96002"/>
                <a:gd name="connsiteY0" fmla="*/ 0 h 59531"/>
                <a:gd name="connsiteX1" fmla="*/ 96002 w 96002"/>
                <a:gd name="connsiteY1" fmla="*/ 0 h 59531"/>
                <a:gd name="connsiteX2" fmla="*/ 96002 w 96002"/>
                <a:gd name="connsiteY2" fmla="*/ 59531 h 59531"/>
                <a:gd name="connsiteX3" fmla="*/ 0 w 96002"/>
                <a:gd name="connsiteY3" fmla="*/ 59531 h 59531"/>
                <a:gd name="connsiteX4" fmla="*/ 0 w 96002"/>
                <a:gd name="connsiteY4" fmla="*/ 0 h 59531"/>
                <a:gd name="connsiteX0" fmla="*/ 0 w 96002"/>
                <a:gd name="connsiteY0" fmla="*/ 2381 h 61912"/>
                <a:gd name="connsiteX1" fmla="*/ 67427 w 96002"/>
                <a:gd name="connsiteY1" fmla="*/ 0 h 61912"/>
                <a:gd name="connsiteX2" fmla="*/ 96002 w 96002"/>
                <a:gd name="connsiteY2" fmla="*/ 61912 h 61912"/>
                <a:gd name="connsiteX3" fmla="*/ 0 w 96002"/>
                <a:gd name="connsiteY3" fmla="*/ 61912 h 61912"/>
                <a:gd name="connsiteX4" fmla="*/ 0 w 96002"/>
                <a:gd name="connsiteY4" fmla="*/ 2381 h 61912"/>
                <a:gd name="connsiteX0" fmla="*/ 0 w 96002"/>
                <a:gd name="connsiteY0" fmla="*/ 0 h 59531"/>
                <a:gd name="connsiteX1" fmla="*/ 48377 w 96002"/>
                <a:gd name="connsiteY1" fmla="*/ 30957 h 59531"/>
                <a:gd name="connsiteX2" fmla="*/ 96002 w 96002"/>
                <a:gd name="connsiteY2" fmla="*/ 59531 h 59531"/>
                <a:gd name="connsiteX3" fmla="*/ 0 w 96002"/>
                <a:gd name="connsiteY3" fmla="*/ 59531 h 59531"/>
                <a:gd name="connsiteX4" fmla="*/ 0 w 96002"/>
                <a:gd name="connsiteY4" fmla="*/ 0 h 59531"/>
                <a:gd name="connsiteX0" fmla="*/ 0 w 96002"/>
                <a:gd name="connsiteY0" fmla="*/ 2381 h 61912"/>
                <a:gd name="connsiteX1" fmla="*/ 60283 w 96002"/>
                <a:gd name="connsiteY1" fmla="*/ 0 h 61912"/>
                <a:gd name="connsiteX2" fmla="*/ 96002 w 96002"/>
                <a:gd name="connsiteY2" fmla="*/ 61912 h 61912"/>
                <a:gd name="connsiteX3" fmla="*/ 0 w 96002"/>
                <a:gd name="connsiteY3" fmla="*/ 61912 h 61912"/>
                <a:gd name="connsiteX4" fmla="*/ 0 w 96002"/>
                <a:gd name="connsiteY4" fmla="*/ 2381 h 61912"/>
                <a:gd name="connsiteX0" fmla="*/ 0 w 60283"/>
                <a:gd name="connsiteY0" fmla="*/ 2381 h 61912"/>
                <a:gd name="connsiteX1" fmla="*/ 60283 w 60283"/>
                <a:gd name="connsiteY1" fmla="*/ 0 h 61912"/>
                <a:gd name="connsiteX2" fmla="*/ 31709 w 60283"/>
                <a:gd name="connsiteY2" fmla="*/ 42862 h 61912"/>
                <a:gd name="connsiteX3" fmla="*/ 0 w 60283"/>
                <a:gd name="connsiteY3" fmla="*/ 61912 h 61912"/>
                <a:gd name="connsiteX4" fmla="*/ 0 w 60283"/>
                <a:gd name="connsiteY4" fmla="*/ 2381 h 61912"/>
                <a:gd name="connsiteX0" fmla="*/ 0 w 79334"/>
                <a:gd name="connsiteY0" fmla="*/ 2381 h 61912"/>
                <a:gd name="connsiteX1" fmla="*/ 60283 w 79334"/>
                <a:gd name="connsiteY1" fmla="*/ 0 h 61912"/>
                <a:gd name="connsiteX2" fmla="*/ 79334 w 79334"/>
                <a:gd name="connsiteY2" fmla="*/ 59531 h 61912"/>
                <a:gd name="connsiteX3" fmla="*/ 0 w 79334"/>
                <a:gd name="connsiteY3" fmla="*/ 61912 h 61912"/>
                <a:gd name="connsiteX4" fmla="*/ 0 w 79334"/>
                <a:gd name="connsiteY4" fmla="*/ 2381 h 61912"/>
                <a:gd name="connsiteX0" fmla="*/ 0 w 82505"/>
                <a:gd name="connsiteY0" fmla="*/ 2381 h 61912"/>
                <a:gd name="connsiteX1" fmla="*/ 60283 w 82505"/>
                <a:gd name="connsiteY1" fmla="*/ 0 h 61912"/>
                <a:gd name="connsiteX2" fmla="*/ 79334 w 82505"/>
                <a:gd name="connsiteY2" fmla="*/ 59531 h 61912"/>
                <a:gd name="connsiteX3" fmla="*/ 0 w 82505"/>
                <a:gd name="connsiteY3" fmla="*/ 61912 h 61912"/>
                <a:gd name="connsiteX4" fmla="*/ 0 w 82505"/>
                <a:gd name="connsiteY4" fmla="*/ 2381 h 61912"/>
                <a:gd name="connsiteX0" fmla="*/ 0 w 83475"/>
                <a:gd name="connsiteY0" fmla="*/ 2381 h 61912"/>
                <a:gd name="connsiteX1" fmla="*/ 60283 w 83475"/>
                <a:gd name="connsiteY1" fmla="*/ 0 h 61912"/>
                <a:gd name="connsiteX2" fmla="*/ 79334 w 83475"/>
                <a:gd name="connsiteY2" fmla="*/ 59531 h 61912"/>
                <a:gd name="connsiteX3" fmla="*/ 0 w 83475"/>
                <a:gd name="connsiteY3" fmla="*/ 61912 h 61912"/>
                <a:gd name="connsiteX4" fmla="*/ 0 w 83475"/>
                <a:gd name="connsiteY4" fmla="*/ 2381 h 61912"/>
                <a:gd name="connsiteX0" fmla="*/ 0 w 85004"/>
                <a:gd name="connsiteY0" fmla="*/ 2381 h 61912"/>
                <a:gd name="connsiteX1" fmla="*/ 60283 w 85004"/>
                <a:gd name="connsiteY1" fmla="*/ 0 h 61912"/>
                <a:gd name="connsiteX2" fmla="*/ 79334 w 85004"/>
                <a:gd name="connsiteY2" fmla="*/ 59531 h 61912"/>
                <a:gd name="connsiteX3" fmla="*/ 0 w 85004"/>
                <a:gd name="connsiteY3" fmla="*/ 61912 h 61912"/>
                <a:gd name="connsiteX4" fmla="*/ 0 w 85004"/>
                <a:gd name="connsiteY4" fmla="*/ 2381 h 61912"/>
                <a:gd name="connsiteX0" fmla="*/ 0 w 87385"/>
                <a:gd name="connsiteY0" fmla="*/ 2381 h 61912"/>
                <a:gd name="connsiteX1" fmla="*/ 62664 w 87385"/>
                <a:gd name="connsiteY1" fmla="*/ 0 h 61912"/>
                <a:gd name="connsiteX2" fmla="*/ 81715 w 87385"/>
                <a:gd name="connsiteY2" fmla="*/ 59531 h 61912"/>
                <a:gd name="connsiteX3" fmla="*/ 2381 w 87385"/>
                <a:gd name="connsiteY3" fmla="*/ 61912 h 61912"/>
                <a:gd name="connsiteX4" fmla="*/ 0 w 87385"/>
                <a:gd name="connsiteY4" fmla="*/ 2381 h 61912"/>
                <a:gd name="connsiteX0" fmla="*/ 0 w 89766"/>
                <a:gd name="connsiteY0" fmla="*/ 0 h 61913"/>
                <a:gd name="connsiteX1" fmla="*/ 65045 w 89766"/>
                <a:gd name="connsiteY1" fmla="*/ 1 h 61913"/>
                <a:gd name="connsiteX2" fmla="*/ 84096 w 89766"/>
                <a:gd name="connsiteY2" fmla="*/ 59532 h 61913"/>
                <a:gd name="connsiteX3" fmla="*/ 4762 w 89766"/>
                <a:gd name="connsiteY3" fmla="*/ 61913 h 61913"/>
                <a:gd name="connsiteX4" fmla="*/ 0 w 89766"/>
                <a:gd name="connsiteY4" fmla="*/ 0 h 61913"/>
                <a:gd name="connsiteX0" fmla="*/ 0 w 89766"/>
                <a:gd name="connsiteY0" fmla="*/ 0 h 61913"/>
                <a:gd name="connsiteX1" fmla="*/ 65045 w 89766"/>
                <a:gd name="connsiteY1" fmla="*/ 1 h 61913"/>
                <a:gd name="connsiteX2" fmla="*/ 84096 w 89766"/>
                <a:gd name="connsiteY2" fmla="*/ 59532 h 61913"/>
                <a:gd name="connsiteX3" fmla="*/ 4762 w 89766"/>
                <a:gd name="connsiteY3" fmla="*/ 61913 h 61913"/>
                <a:gd name="connsiteX4" fmla="*/ 0 w 89766"/>
                <a:gd name="connsiteY4" fmla="*/ 0 h 61913"/>
                <a:gd name="connsiteX0" fmla="*/ 0 w 79507"/>
                <a:gd name="connsiteY0" fmla="*/ 0 h 61913"/>
                <a:gd name="connsiteX1" fmla="*/ 65045 w 79507"/>
                <a:gd name="connsiteY1" fmla="*/ 1 h 61913"/>
                <a:gd name="connsiteX2" fmla="*/ 67428 w 79507"/>
                <a:gd name="connsiteY2" fmla="*/ 59532 h 61913"/>
                <a:gd name="connsiteX3" fmla="*/ 4762 w 79507"/>
                <a:gd name="connsiteY3" fmla="*/ 61913 h 61913"/>
                <a:gd name="connsiteX4" fmla="*/ 0 w 79507"/>
                <a:gd name="connsiteY4" fmla="*/ 0 h 61913"/>
                <a:gd name="connsiteX0" fmla="*/ 0 w 89872"/>
                <a:gd name="connsiteY0" fmla="*/ 0 h 61913"/>
                <a:gd name="connsiteX1" fmla="*/ 65045 w 89872"/>
                <a:gd name="connsiteY1" fmla="*/ 1 h 61913"/>
                <a:gd name="connsiteX2" fmla="*/ 67428 w 89872"/>
                <a:gd name="connsiteY2" fmla="*/ 59532 h 61913"/>
                <a:gd name="connsiteX3" fmla="*/ 4762 w 89872"/>
                <a:gd name="connsiteY3" fmla="*/ 61913 h 61913"/>
                <a:gd name="connsiteX4" fmla="*/ 0 w 89872"/>
                <a:gd name="connsiteY4" fmla="*/ 0 h 6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872" h="61913">
                  <a:moveTo>
                    <a:pt x="0" y="0"/>
                  </a:moveTo>
                  <a:lnTo>
                    <a:pt x="65045" y="1"/>
                  </a:lnTo>
                  <a:cubicBezTo>
                    <a:pt x="87792" y="9526"/>
                    <a:pt x="106050" y="56358"/>
                    <a:pt x="67428" y="59532"/>
                  </a:cubicBezTo>
                  <a:lnTo>
                    <a:pt x="4762" y="61913"/>
                  </a:lnTo>
                  <a:cubicBezTo>
                    <a:pt x="3968" y="42069"/>
                    <a:pt x="794" y="19844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8">
              <a:extLst>
                <a:ext uri="{FF2B5EF4-FFF2-40B4-BE49-F238E27FC236}">
                  <a16:creationId xmlns:a16="http://schemas.microsoft.com/office/drawing/2014/main" id="{238F4271-82E9-4B57-B00D-53A76E3F7A1B}"/>
                </a:ext>
              </a:extLst>
            </p:cNvPr>
            <p:cNvSpPr/>
            <p:nvPr/>
          </p:nvSpPr>
          <p:spPr>
            <a:xfrm flipH="1">
              <a:off x="2058634" y="1363343"/>
              <a:ext cx="271633" cy="174444"/>
            </a:xfrm>
            <a:custGeom>
              <a:avLst/>
              <a:gdLst>
                <a:gd name="connsiteX0" fmla="*/ 0 w 96002"/>
                <a:gd name="connsiteY0" fmla="*/ 0 h 59531"/>
                <a:gd name="connsiteX1" fmla="*/ 96002 w 96002"/>
                <a:gd name="connsiteY1" fmla="*/ 0 h 59531"/>
                <a:gd name="connsiteX2" fmla="*/ 96002 w 96002"/>
                <a:gd name="connsiteY2" fmla="*/ 59531 h 59531"/>
                <a:gd name="connsiteX3" fmla="*/ 0 w 96002"/>
                <a:gd name="connsiteY3" fmla="*/ 59531 h 59531"/>
                <a:gd name="connsiteX4" fmla="*/ 0 w 96002"/>
                <a:gd name="connsiteY4" fmla="*/ 0 h 59531"/>
                <a:gd name="connsiteX0" fmla="*/ 0 w 96002"/>
                <a:gd name="connsiteY0" fmla="*/ 2381 h 61912"/>
                <a:gd name="connsiteX1" fmla="*/ 67427 w 96002"/>
                <a:gd name="connsiteY1" fmla="*/ 0 h 61912"/>
                <a:gd name="connsiteX2" fmla="*/ 96002 w 96002"/>
                <a:gd name="connsiteY2" fmla="*/ 61912 h 61912"/>
                <a:gd name="connsiteX3" fmla="*/ 0 w 96002"/>
                <a:gd name="connsiteY3" fmla="*/ 61912 h 61912"/>
                <a:gd name="connsiteX4" fmla="*/ 0 w 96002"/>
                <a:gd name="connsiteY4" fmla="*/ 2381 h 61912"/>
                <a:gd name="connsiteX0" fmla="*/ 0 w 96002"/>
                <a:gd name="connsiteY0" fmla="*/ 0 h 59531"/>
                <a:gd name="connsiteX1" fmla="*/ 48377 w 96002"/>
                <a:gd name="connsiteY1" fmla="*/ 30957 h 59531"/>
                <a:gd name="connsiteX2" fmla="*/ 96002 w 96002"/>
                <a:gd name="connsiteY2" fmla="*/ 59531 h 59531"/>
                <a:gd name="connsiteX3" fmla="*/ 0 w 96002"/>
                <a:gd name="connsiteY3" fmla="*/ 59531 h 59531"/>
                <a:gd name="connsiteX4" fmla="*/ 0 w 96002"/>
                <a:gd name="connsiteY4" fmla="*/ 0 h 59531"/>
                <a:gd name="connsiteX0" fmla="*/ 0 w 96002"/>
                <a:gd name="connsiteY0" fmla="*/ 2381 h 61912"/>
                <a:gd name="connsiteX1" fmla="*/ 60283 w 96002"/>
                <a:gd name="connsiteY1" fmla="*/ 0 h 61912"/>
                <a:gd name="connsiteX2" fmla="*/ 96002 w 96002"/>
                <a:gd name="connsiteY2" fmla="*/ 61912 h 61912"/>
                <a:gd name="connsiteX3" fmla="*/ 0 w 96002"/>
                <a:gd name="connsiteY3" fmla="*/ 61912 h 61912"/>
                <a:gd name="connsiteX4" fmla="*/ 0 w 96002"/>
                <a:gd name="connsiteY4" fmla="*/ 2381 h 61912"/>
                <a:gd name="connsiteX0" fmla="*/ 0 w 60283"/>
                <a:gd name="connsiteY0" fmla="*/ 2381 h 61912"/>
                <a:gd name="connsiteX1" fmla="*/ 60283 w 60283"/>
                <a:gd name="connsiteY1" fmla="*/ 0 h 61912"/>
                <a:gd name="connsiteX2" fmla="*/ 31709 w 60283"/>
                <a:gd name="connsiteY2" fmla="*/ 42862 h 61912"/>
                <a:gd name="connsiteX3" fmla="*/ 0 w 60283"/>
                <a:gd name="connsiteY3" fmla="*/ 61912 h 61912"/>
                <a:gd name="connsiteX4" fmla="*/ 0 w 60283"/>
                <a:gd name="connsiteY4" fmla="*/ 2381 h 61912"/>
                <a:gd name="connsiteX0" fmla="*/ 0 w 79334"/>
                <a:gd name="connsiteY0" fmla="*/ 2381 h 61912"/>
                <a:gd name="connsiteX1" fmla="*/ 60283 w 79334"/>
                <a:gd name="connsiteY1" fmla="*/ 0 h 61912"/>
                <a:gd name="connsiteX2" fmla="*/ 79334 w 79334"/>
                <a:gd name="connsiteY2" fmla="*/ 59531 h 61912"/>
                <a:gd name="connsiteX3" fmla="*/ 0 w 79334"/>
                <a:gd name="connsiteY3" fmla="*/ 61912 h 61912"/>
                <a:gd name="connsiteX4" fmla="*/ 0 w 79334"/>
                <a:gd name="connsiteY4" fmla="*/ 2381 h 61912"/>
                <a:gd name="connsiteX0" fmla="*/ 0 w 82505"/>
                <a:gd name="connsiteY0" fmla="*/ 2381 h 61912"/>
                <a:gd name="connsiteX1" fmla="*/ 60283 w 82505"/>
                <a:gd name="connsiteY1" fmla="*/ 0 h 61912"/>
                <a:gd name="connsiteX2" fmla="*/ 79334 w 82505"/>
                <a:gd name="connsiteY2" fmla="*/ 59531 h 61912"/>
                <a:gd name="connsiteX3" fmla="*/ 0 w 82505"/>
                <a:gd name="connsiteY3" fmla="*/ 61912 h 61912"/>
                <a:gd name="connsiteX4" fmla="*/ 0 w 82505"/>
                <a:gd name="connsiteY4" fmla="*/ 2381 h 61912"/>
                <a:gd name="connsiteX0" fmla="*/ 0 w 83475"/>
                <a:gd name="connsiteY0" fmla="*/ 2381 h 61912"/>
                <a:gd name="connsiteX1" fmla="*/ 60283 w 83475"/>
                <a:gd name="connsiteY1" fmla="*/ 0 h 61912"/>
                <a:gd name="connsiteX2" fmla="*/ 79334 w 83475"/>
                <a:gd name="connsiteY2" fmla="*/ 59531 h 61912"/>
                <a:gd name="connsiteX3" fmla="*/ 0 w 83475"/>
                <a:gd name="connsiteY3" fmla="*/ 61912 h 61912"/>
                <a:gd name="connsiteX4" fmla="*/ 0 w 83475"/>
                <a:gd name="connsiteY4" fmla="*/ 2381 h 61912"/>
                <a:gd name="connsiteX0" fmla="*/ 0 w 85004"/>
                <a:gd name="connsiteY0" fmla="*/ 2381 h 61912"/>
                <a:gd name="connsiteX1" fmla="*/ 60283 w 85004"/>
                <a:gd name="connsiteY1" fmla="*/ 0 h 61912"/>
                <a:gd name="connsiteX2" fmla="*/ 79334 w 85004"/>
                <a:gd name="connsiteY2" fmla="*/ 59531 h 61912"/>
                <a:gd name="connsiteX3" fmla="*/ 0 w 85004"/>
                <a:gd name="connsiteY3" fmla="*/ 61912 h 61912"/>
                <a:gd name="connsiteX4" fmla="*/ 0 w 85004"/>
                <a:gd name="connsiteY4" fmla="*/ 2381 h 61912"/>
                <a:gd name="connsiteX0" fmla="*/ 0 w 87385"/>
                <a:gd name="connsiteY0" fmla="*/ 2381 h 61912"/>
                <a:gd name="connsiteX1" fmla="*/ 62664 w 87385"/>
                <a:gd name="connsiteY1" fmla="*/ 0 h 61912"/>
                <a:gd name="connsiteX2" fmla="*/ 81715 w 87385"/>
                <a:gd name="connsiteY2" fmla="*/ 59531 h 61912"/>
                <a:gd name="connsiteX3" fmla="*/ 2381 w 87385"/>
                <a:gd name="connsiteY3" fmla="*/ 61912 h 61912"/>
                <a:gd name="connsiteX4" fmla="*/ 0 w 87385"/>
                <a:gd name="connsiteY4" fmla="*/ 2381 h 61912"/>
                <a:gd name="connsiteX0" fmla="*/ 0 w 89766"/>
                <a:gd name="connsiteY0" fmla="*/ 0 h 61913"/>
                <a:gd name="connsiteX1" fmla="*/ 65045 w 89766"/>
                <a:gd name="connsiteY1" fmla="*/ 1 h 61913"/>
                <a:gd name="connsiteX2" fmla="*/ 84096 w 89766"/>
                <a:gd name="connsiteY2" fmla="*/ 59532 h 61913"/>
                <a:gd name="connsiteX3" fmla="*/ 4762 w 89766"/>
                <a:gd name="connsiteY3" fmla="*/ 61913 h 61913"/>
                <a:gd name="connsiteX4" fmla="*/ 0 w 89766"/>
                <a:gd name="connsiteY4" fmla="*/ 0 h 61913"/>
                <a:gd name="connsiteX0" fmla="*/ 0 w 89766"/>
                <a:gd name="connsiteY0" fmla="*/ 0 h 61913"/>
                <a:gd name="connsiteX1" fmla="*/ 65045 w 89766"/>
                <a:gd name="connsiteY1" fmla="*/ 1 h 61913"/>
                <a:gd name="connsiteX2" fmla="*/ 84096 w 89766"/>
                <a:gd name="connsiteY2" fmla="*/ 59532 h 61913"/>
                <a:gd name="connsiteX3" fmla="*/ 4762 w 89766"/>
                <a:gd name="connsiteY3" fmla="*/ 61913 h 61913"/>
                <a:gd name="connsiteX4" fmla="*/ 0 w 89766"/>
                <a:gd name="connsiteY4" fmla="*/ 0 h 61913"/>
                <a:gd name="connsiteX0" fmla="*/ 0 w 79507"/>
                <a:gd name="connsiteY0" fmla="*/ 0 h 61913"/>
                <a:gd name="connsiteX1" fmla="*/ 65045 w 79507"/>
                <a:gd name="connsiteY1" fmla="*/ 1 h 61913"/>
                <a:gd name="connsiteX2" fmla="*/ 67428 w 79507"/>
                <a:gd name="connsiteY2" fmla="*/ 59532 h 61913"/>
                <a:gd name="connsiteX3" fmla="*/ 4762 w 79507"/>
                <a:gd name="connsiteY3" fmla="*/ 61913 h 61913"/>
                <a:gd name="connsiteX4" fmla="*/ 0 w 79507"/>
                <a:gd name="connsiteY4" fmla="*/ 0 h 61913"/>
                <a:gd name="connsiteX0" fmla="*/ 0 w 89872"/>
                <a:gd name="connsiteY0" fmla="*/ 0 h 61913"/>
                <a:gd name="connsiteX1" fmla="*/ 65045 w 89872"/>
                <a:gd name="connsiteY1" fmla="*/ 1 h 61913"/>
                <a:gd name="connsiteX2" fmla="*/ 67428 w 89872"/>
                <a:gd name="connsiteY2" fmla="*/ 59532 h 61913"/>
                <a:gd name="connsiteX3" fmla="*/ 4762 w 89872"/>
                <a:gd name="connsiteY3" fmla="*/ 61913 h 61913"/>
                <a:gd name="connsiteX4" fmla="*/ 0 w 89872"/>
                <a:gd name="connsiteY4" fmla="*/ 0 h 6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872" h="61913">
                  <a:moveTo>
                    <a:pt x="0" y="0"/>
                  </a:moveTo>
                  <a:lnTo>
                    <a:pt x="65045" y="1"/>
                  </a:lnTo>
                  <a:cubicBezTo>
                    <a:pt x="87792" y="9526"/>
                    <a:pt x="106050" y="56358"/>
                    <a:pt x="67428" y="59532"/>
                  </a:cubicBezTo>
                  <a:lnTo>
                    <a:pt x="4762" y="61913"/>
                  </a:lnTo>
                  <a:cubicBezTo>
                    <a:pt x="3968" y="42069"/>
                    <a:pt x="794" y="19844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12">
              <a:extLst>
                <a:ext uri="{FF2B5EF4-FFF2-40B4-BE49-F238E27FC236}">
                  <a16:creationId xmlns:a16="http://schemas.microsoft.com/office/drawing/2014/main" id="{20F5A134-ED8B-4549-B1DC-C51870E18137}"/>
                </a:ext>
              </a:extLst>
            </p:cNvPr>
            <p:cNvSpPr/>
            <p:nvPr/>
          </p:nvSpPr>
          <p:spPr>
            <a:xfrm>
              <a:off x="2959588" y="1150710"/>
              <a:ext cx="554187" cy="294889"/>
            </a:xfrm>
            <a:custGeom>
              <a:avLst/>
              <a:gdLst>
                <a:gd name="connsiteX0" fmla="*/ 0 w 357188"/>
                <a:gd name="connsiteY0" fmla="*/ 0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0 w 357188"/>
                <a:gd name="connsiteY4" fmla="*/ 0 h 111919"/>
                <a:gd name="connsiteX0" fmla="*/ 114300 w 357188"/>
                <a:gd name="connsiteY0" fmla="*/ 40481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114300 w 357188"/>
                <a:gd name="connsiteY4" fmla="*/ 40481 h 111919"/>
                <a:gd name="connsiteX0" fmla="*/ 42862 w 357188"/>
                <a:gd name="connsiteY0" fmla="*/ 16668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42862 w 357188"/>
                <a:gd name="connsiteY4" fmla="*/ 16668 h 111919"/>
                <a:gd name="connsiteX0" fmla="*/ 42862 w 357188"/>
                <a:gd name="connsiteY0" fmla="*/ 0 h 95251"/>
                <a:gd name="connsiteX1" fmla="*/ 221457 w 357188"/>
                <a:gd name="connsiteY1" fmla="*/ 40482 h 95251"/>
                <a:gd name="connsiteX2" fmla="*/ 357188 w 357188"/>
                <a:gd name="connsiteY2" fmla="*/ 95251 h 95251"/>
                <a:gd name="connsiteX3" fmla="*/ 0 w 357188"/>
                <a:gd name="connsiteY3" fmla="*/ 95251 h 95251"/>
                <a:gd name="connsiteX4" fmla="*/ 42862 w 357188"/>
                <a:gd name="connsiteY4" fmla="*/ 0 h 95251"/>
                <a:gd name="connsiteX0" fmla="*/ 42862 w 357188"/>
                <a:gd name="connsiteY0" fmla="*/ 2381 h 97632"/>
                <a:gd name="connsiteX1" fmla="*/ 297657 w 357188"/>
                <a:gd name="connsiteY1" fmla="*/ 0 h 97632"/>
                <a:gd name="connsiteX2" fmla="*/ 357188 w 357188"/>
                <a:gd name="connsiteY2" fmla="*/ 97632 h 97632"/>
                <a:gd name="connsiteX3" fmla="*/ 0 w 357188"/>
                <a:gd name="connsiteY3" fmla="*/ 97632 h 97632"/>
                <a:gd name="connsiteX4" fmla="*/ 42862 w 357188"/>
                <a:gd name="connsiteY4" fmla="*/ 2381 h 97632"/>
                <a:gd name="connsiteX0" fmla="*/ 42862 w 376290"/>
                <a:gd name="connsiteY0" fmla="*/ 13301 h 108552"/>
                <a:gd name="connsiteX1" fmla="*/ 297657 w 376290"/>
                <a:gd name="connsiteY1" fmla="*/ 10920 h 108552"/>
                <a:gd name="connsiteX2" fmla="*/ 357188 w 376290"/>
                <a:gd name="connsiteY2" fmla="*/ 108552 h 108552"/>
                <a:gd name="connsiteX3" fmla="*/ 0 w 376290"/>
                <a:gd name="connsiteY3" fmla="*/ 108552 h 108552"/>
                <a:gd name="connsiteX4" fmla="*/ 42862 w 376290"/>
                <a:gd name="connsiteY4" fmla="*/ 13301 h 108552"/>
                <a:gd name="connsiteX0" fmla="*/ 66127 w 399555"/>
                <a:gd name="connsiteY0" fmla="*/ 13301 h 108552"/>
                <a:gd name="connsiteX1" fmla="*/ 320922 w 399555"/>
                <a:gd name="connsiteY1" fmla="*/ 10920 h 108552"/>
                <a:gd name="connsiteX2" fmla="*/ 380453 w 399555"/>
                <a:gd name="connsiteY2" fmla="*/ 108552 h 108552"/>
                <a:gd name="connsiteX3" fmla="*/ 23265 w 399555"/>
                <a:gd name="connsiteY3" fmla="*/ 108552 h 108552"/>
                <a:gd name="connsiteX4" fmla="*/ 66127 w 399555"/>
                <a:gd name="connsiteY4" fmla="*/ 13301 h 108552"/>
                <a:gd name="connsiteX0" fmla="*/ 60252 w 393680"/>
                <a:gd name="connsiteY0" fmla="*/ 9797 h 105048"/>
                <a:gd name="connsiteX1" fmla="*/ 315047 w 393680"/>
                <a:gd name="connsiteY1" fmla="*/ 7416 h 105048"/>
                <a:gd name="connsiteX2" fmla="*/ 374578 w 393680"/>
                <a:gd name="connsiteY2" fmla="*/ 105048 h 105048"/>
                <a:gd name="connsiteX3" fmla="*/ 17390 w 393680"/>
                <a:gd name="connsiteY3" fmla="*/ 105048 h 105048"/>
                <a:gd name="connsiteX4" fmla="*/ 60252 w 393680"/>
                <a:gd name="connsiteY4" fmla="*/ 9797 h 105048"/>
                <a:gd name="connsiteX0" fmla="*/ 100738 w 387763"/>
                <a:gd name="connsiteY0" fmla="*/ 28724 h 100163"/>
                <a:gd name="connsiteX1" fmla="*/ 310290 w 387763"/>
                <a:gd name="connsiteY1" fmla="*/ 2531 h 100163"/>
                <a:gd name="connsiteX2" fmla="*/ 369821 w 387763"/>
                <a:gd name="connsiteY2" fmla="*/ 100163 h 100163"/>
                <a:gd name="connsiteX3" fmla="*/ 12633 w 387763"/>
                <a:gd name="connsiteY3" fmla="*/ 100163 h 100163"/>
                <a:gd name="connsiteX4" fmla="*/ 100738 w 387763"/>
                <a:gd name="connsiteY4" fmla="*/ 28724 h 100163"/>
                <a:gd name="connsiteX0" fmla="*/ 88105 w 375130"/>
                <a:gd name="connsiteY0" fmla="*/ 28724 h 100163"/>
                <a:gd name="connsiteX1" fmla="*/ 297657 w 375130"/>
                <a:gd name="connsiteY1" fmla="*/ 2531 h 100163"/>
                <a:gd name="connsiteX2" fmla="*/ 357188 w 375130"/>
                <a:gd name="connsiteY2" fmla="*/ 100163 h 100163"/>
                <a:gd name="connsiteX3" fmla="*/ 0 w 375130"/>
                <a:gd name="connsiteY3" fmla="*/ 100163 h 100163"/>
                <a:gd name="connsiteX4" fmla="*/ 88105 w 375130"/>
                <a:gd name="connsiteY4" fmla="*/ 28724 h 100163"/>
                <a:gd name="connsiteX0" fmla="*/ 50005 w 376099"/>
                <a:gd name="connsiteY0" fmla="*/ 13086 h 103575"/>
                <a:gd name="connsiteX1" fmla="*/ 297657 w 376099"/>
                <a:gd name="connsiteY1" fmla="*/ 5943 h 103575"/>
                <a:gd name="connsiteX2" fmla="*/ 357188 w 376099"/>
                <a:gd name="connsiteY2" fmla="*/ 103575 h 103575"/>
                <a:gd name="connsiteX3" fmla="*/ 0 w 376099"/>
                <a:gd name="connsiteY3" fmla="*/ 103575 h 103575"/>
                <a:gd name="connsiteX4" fmla="*/ 50005 w 376099"/>
                <a:gd name="connsiteY4" fmla="*/ 13086 h 103575"/>
                <a:gd name="connsiteX0" fmla="*/ 50005 w 357188"/>
                <a:gd name="connsiteY0" fmla="*/ 13086 h 103575"/>
                <a:gd name="connsiteX1" fmla="*/ 297657 w 357188"/>
                <a:gd name="connsiteY1" fmla="*/ 5943 h 103575"/>
                <a:gd name="connsiteX2" fmla="*/ 357188 w 357188"/>
                <a:gd name="connsiteY2" fmla="*/ 103575 h 103575"/>
                <a:gd name="connsiteX3" fmla="*/ 0 w 357188"/>
                <a:gd name="connsiteY3" fmla="*/ 103575 h 103575"/>
                <a:gd name="connsiteX4" fmla="*/ 50005 w 357188"/>
                <a:gd name="connsiteY4" fmla="*/ 13086 h 103575"/>
                <a:gd name="connsiteX0" fmla="*/ 50005 w 357188"/>
                <a:gd name="connsiteY0" fmla="*/ 12047 h 102536"/>
                <a:gd name="connsiteX1" fmla="*/ 297657 w 357188"/>
                <a:gd name="connsiteY1" fmla="*/ 4904 h 102536"/>
                <a:gd name="connsiteX2" fmla="*/ 357188 w 357188"/>
                <a:gd name="connsiteY2" fmla="*/ 102536 h 102536"/>
                <a:gd name="connsiteX3" fmla="*/ 0 w 357188"/>
                <a:gd name="connsiteY3" fmla="*/ 102536 h 102536"/>
                <a:gd name="connsiteX4" fmla="*/ 50005 w 357188"/>
                <a:gd name="connsiteY4" fmla="*/ 12047 h 102536"/>
                <a:gd name="connsiteX0" fmla="*/ 50005 w 357188"/>
                <a:gd name="connsiteY0" fmla="*/ 12047 h 102536"/>
                <a:gd name="connsiteX1" fmla="*/ 297657 w 357188"/>
                <a:gd name="connsiteY1" fmla="*/ 4904 h 102536"/>
                <a:gd name="connsiteX2" fmla="*/ 357188 w 357188"/>
                <a:gd name="connsiteY2" fmla="*/ 102536 h 102536"/>
                <a:gd name="connsiteX3" fmla="*/ 0 w 357188"/>
                <a:gd name="connsiteY3" fmla="*/ 102536 h 102536"/>
                <a:gd name="connsiteX4" fmla="*/ 50005 w 357188"/>
                <a:gd name="connsiteY4" fmla="*/ 12047 h 102536"/>
                <a:gd name="connsiteX0" fmla="*/ 50005 w 357188"/>
                <a:gd name="connsiteY0" fmla="*/ 7197 h 97686"/>
                <a:gd name="connsiteX1" fmla="*/ 269082 w 357188"/>
                <a:gd name="connsiteY1" fmla="*/ 14341 h 97686"/>
                <a:gd name="connsiteX2" fmla="*/ 357188 w 357188"/>
                <a:gd name="connsiteY2" fmla="*/ 97686 h 97686"/>
                <a:gd name="connsiteX3" fmla="*/ 0 w 357188"/>
                <a:gd name="connsiteY3" fmla="*/ 97686 h 97686"/>
                <a:gd name="connsiteX4" fmla="*/ 50005 w 357188"/>
                <a:gd name="connsiteY4" fmla="*/ 7197 h 97686"/>
                <a:gd name="connsiteX0" fmla="*/ 50005 w 357188"/>
                <a:gd name="connsiteY0" fmla="*/ 11770 h 102259"/>
                <a:gd name="connsiteX1" fmla="*/ 295276 w 357188"/>
                <a:gd name="connsiteY1" fmla="*/ 9389 h 102259"/>
                <a:gd name="connsiteX2" fmla="*/ 357188 w 357188"/>
                <a:gd name="connsiteY2" fmla="*/ 102259 h 102259"/>
                <a:gd name="connsiteX3" fmla="*/ 0 w 357188"/>
                <a:gd name="connsiteY3" fmla="*/ 102259 h 102259"/>
                <a:gd name="connsiteX4" fmla="*/ 50005 w 357188"/>
                <a:gd name="connsiteY4" fmla="*/ 11770 h 102259"/>
                <a:gd name="connsiteX0" fmla="*/ 50005 w 357188"/>
                <a:gd name="connsiteY0" fmla="*/ 9430 h 99919"/>
                <a:gd name="connsiteX1" fmla="*/ 295276 w 357188"/>
                <a:gd name="connsiteY1" fmla="*/ 7049 h 99919"/>
                <a:gd name="connsiteX2" fmla="*/ 357188 w 357188"/>
                <a:gd name="connsiteY2" fmla="*/ 99919 h 99919"/>
                <a:gd name="connsiteX3" fmla="*/ 0 w 357188"/>
                <a:gd name="connsiteY3" fmla="*/ 99919 h 99919"/>
                <a:gd name="connsiteX4" fmla="*/ 50005 w 357188"/>
                <a:gd name="connsiteY4" fmla="*/ 9430 h 99919"/>
                <a:gd name="connsiteX0" fmla="*/ 50005 w 357188"/>
                <a:gd name="connsiteY0" fmla="*/ 12324 h 102813"/>
                <a:gd name="connsiteX1" fmla="*/ 173831 w 357188"/>
                <a:gd name="connsiteY1" fmla="*/ 2893 h 102813"/>
                <a:gd name="connsiteX2" fmla="*/ 295276 w 357188"/>
                <a:gd name="connsiteY2" fmla="*/ 9943 h 102813"/>
                <a:gd name="connsiteX3" fmla="*/ 357188 w 357188"/>
                <a:gd name="connsiteY3" fmla="*/ 102813 h 102813"/>
                <a:gd name="connsiteX4" fmla="*/ 0 w 357188"/>
                <a:gd name="connsiteY4" fmla="*/ 102813 h 102813"/>
                <a:gd name="connsiteX5" fmla="*/ 50005 w 357188"/>
                <a:gd name="connsiteY5" fmla="*/ 12324 h 102813"/>
                <a:gd name="connsiteX0" fmla="*/ 50005 w 362306"/>
                <a:gd name="connsiteY0" fmla="*/ 12324 h 102813"/>
                <a:gd name="connsiteX1" fmla="*/ 173831 w 362306"/>
                <a:gd name="connsiteY1" fmla="*/ 2893 h 102813"/>
                <a:gd name="connsiteX2" fmla="*/ 295276 w 362306"/>
                <a:gd name="connsiteY2" fmla="*/ 9943 h 102813"/>
                <a:gd name="connsiteX3" fmla="*/ 357188 w 362306"/>
                <a:gd name="connsiteY3" fmla="*/ 102813 h 102813"/>
                <a:gd name="connsiteX4" fmla="*/ 164306 w 362306"/>
                <a:gd name="connsiteY4" fmla="*/ 100649 h 102813"/>
                <a:gd name="connsiteX5" fmla="*/ 0 w 362306"/>
                <a:gd name="connsiteY5" fmla="*/ 102813 h 102813"/>
                <a:gd name="connsiteX6" fmla="*/ 50005 w 362306"/>
                <a:gd name="connsiteY6" fmla="*/ 12324 h 102813"/>
                <a:gd name="connsiteX0" fmla="*/ 50005 w 362306"/>
                <a:gd name="connsiteY0" fmla="*/ 12324 h 102813"/>
                <a:gd name="connsiteX1" fmla="*/ 173831 w 362306"/>
                <a:gd name="connsiteY1" fmla="*/ 2893 h 102813"/>
                <a:gd name="connsiteX2" fmla="*/ 295276 w 362306"/>
                <a:gd name="connsiteY2" fmla="*/ 9943 h 102813"/>
                <a:gd name="connsiteX3" fmla="*/ 357188 w 362306"/>
                <a:gd name="connsiteY3" fmla="*/ 102813 h 102813"/>
                <a:gd name="connsiteX4" fmla="*/ 178593 w 362306"/>
                <a:gd name="connsiteY4" fmla="*/ 98376 h 102813"/>
                <a:gd name="connsiteX5" fmla="*/ 0 w 362306"/>
                <a:gd name="connsiteY5" fmla="*/ 102813 h 102813"/>
                <a:gd name="connsiteX6" fmla="*/ 50005 w 362306"/>
                <a:gd name="connsiteY6" fmla="*/ 12324 h 102813"/>
                <a:gd name="connsiteX0" fmla="*/ 3 w 362309"/>
                <a:gd name="connsiteY0" fmla="*/ 108921 h 108921"/>
                <a:gd name="connsiteX1" fmla="*/ 173834 w 362309"/>
                <a:gd name="connsiteY1" fmla="*/ 9001 h 108921"/>
                <a:gd name="connsiteX2" fmla="*/ 295279 w 362309"/>
                <a:gd name="connsiteY2" fmla="*/ 16051 h 108921"/>
                <a:gd name="connsiteX3" fmla="*/ 357191 w 362309"/>
                <a:gd name="connsiteY3" fmla="*/ 108921 h 108921"/>
                <a:gd name="connsiteX4" fmla="*/ 178596 w 362309"/>
                <a:gd name="connsiteY4" fmla="*/ 104484 h 108921"/>
                <a:gd name="connsiteX5" fmla="*/ 3 w 362309"/>
                <a:gd name="connsiteY5" fmla="*/ 108921 h 108921"/>
                <a:gd name="connsiteX0" fmla="*/ 4762 w 188475"/>
                <a:gd name="connsiteY0" fmla="*/ 104484 h 108921"/>
                <a:gd name="connsiteX1" fmla="*/ 0 w 188475"/>
                <a:gd name="connsiteY1" fmla="*/ 9001 h 108921"/>
                <a:gd name="connsiteX2" fmla="*/ 121445 w 188475"/>
                <a:gd name="connsiteY2" fmla="*/ 16051 h 108921"/>
                <a:gd name="connsiteX3" fmla="*/ 183357 w 188475"/>
                <a:gd name="connsiteY3" fmla="*/ 108921 h 108921"/>
                <a:gd name="connsiteX4" fmla="*/ 4762 w 188475"/>
                <a:gd name="connsiteY4" fmla="*/ 104484 h 108921"/>
                <a:gd name="connsiteX0" fmla="*/ 0 w 188475"/>
                <a:gd name="connsiteY0" fmla="*/ 106757 h 108921"/>
                <a:gd name="connsiteX1" fmla="*/ 0 w 188475"/>
                <a:gd name="connsiteY1" fmla="*/ 9001 h 108921"/>
                <a:gd name="connsiteX2" fmla="*/ 121445 w 188475"/>
                <a:gd name="connsiteY2" fmla="*/ 16051 h 108921"/>
                <a:gd name="connsiteX3" fmla="*/ 183357 w 188475"/>
                <a:gd name="connsiteY3" fmla="*/ 108921 h 108921"/>
                <a:gd name="connsiteX4" fmla="*/ 0 w 188475"/>
                <a:gd name="connsiteY4" fmla="*/ 106757 h 108921"/>
                <a:gd name="connsiteX0" fmla="*/ 0 w 188475"/>
                <a:gd name="connsiteY0" fmla="*/ 99620 h 101784"/>
                <a:gd name="connsiteX1" fmla="*/ 0 w 188475"/>
                <a:gd name="connsiteY1" fmla="*/ 1864 h 101784"/>
                <a:gd name="connsiteX2" fmla="*/ 121445 w 188475"/>
                <a:gd name="connsiteY2" fmla="*/ 8914 h 101784"/>
                <a:gd name="connsiteX3" fmla="*/ 183357 w 188475"/>
                <a:gd name="connsiteY3" fmla="*/ 101784 h 101784"/>
                <a:gd name="connsiteX4" fmla="*/ 0 w 188475"/>
                <a:gd name="connsiteY4" fmla="*/ 99620 h 101784"/>
                <a:gd name="connsiteX0" fmla="*/ 0 w 189246"/>
                <a:gd name="connsiteY0" fmla="*/ 97756 h 99920"/>
                <a:gd name="connsiteX1" fmla="*/ 0 w 189246"/>
                <a:gd name="connsiteY1" fmla="*/ 0 h 99920"/>
                <a:gd name="connsiteX2" fmla="*/ 130970 w 189246"/>
                <a:gd name="connsiteY2" fmla="*/ 20690 h 99920"/>
                <a:gd name="connsiteX3" fmla="*/ 183357 w 189246"/>
                <a:gd name="connsiteY3" fmla="*/ 99920 h 99920"/>
                <a:gd name="connsiteX4" fmla="*/ 0 w 189246"/>
                <a:gd name="connsiteY4" fmla="*/ 97756 h 99920"/>
                <a:gd name="connsiteX0" fmla="*/ 0 w 188516"/>
                <a:gd name="connsiteY0" fmla="*/ 97756 h 99920"/>
                <a:gd name="connsiteX1" fmla="*/ 0 w 188516"/>
                <a:gd name="connsiteY1" fmla="*/ 0 h 99920"/>
                <a:gd name="connsiteX2" fmla="*/ 130970 w 188516"/>
                <a:gd name="connsiteY2" fmla="*/ 20690 h 99920"/>
                <a:gd name="connsiteX3" fmla="*/ 183357 w 188516"/>
                <a:gd name="connsiteY3" fmla="*/ 99920 h 99920"/>
                <a:gd name="connsiteX4" fmla="*/ 0 w 188516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30970 w 183357"/>
                <a:gd name="connsiteY2" fmla="*/ 2069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28589 w 183357"/>
                <a:gd name="connsiteY2" fmla="*/ 1387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28589 w 183357"/>
                <a:gd name="connsiteY2" fmla="*/ 1387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357" h="99920">
                  <a:moveTo>
                    <a:pt x="0" y="97756"/>
                  </a:moveTo>
                  <a:lnTo>
                    <a:pt x="0" y="0"/>
                  </a:lnTo>
                  <a:cubicBezTo>
                    <a:pt x="53975" y="2709"/>
                    <a:pt x="107554" y="-5056"/>
                    <a:pt x="128589" y="13870"/>
                  </a:cubicBezTo>
                  <a:cubicBezTo>
                    <a:pt x="149624" y="32796"/>
                    <a:pt x="164704" y="55249"/>
                    <a:pt x="183357" y="99920"/>
                  </a:cubicBezTo>
                  <a:lnTo>
                    <a:pt x="0" y="977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12">
              <a:extLst>
                <a:ext uri="{FF2B5EF4-FFF2-40B4-BE49-F238E27FC236}">
                  <a16:creationId xmlns:a16="http://schemas.microsoft.com/office/drawing/2014/main" id="{F8B664B3-4F63-4205-9762-3B7612AFCCFB}"/>
                </a:ext>
              </a:extLst>
            </p:cNvPr>
            <p:cNvSpPr/>
            <p:nvPr/>
          </p:nvSpPr>
          <p:spPr>
            <a:xfrm flipH="1">
              <a:off x="2405406" y="1150708"/>
              <a:ext cx="554187" cy="294889"/>
            </a:xfrm>
            <a:custGeom>
              <a:avLst/>
              <a:gdLst>
                <a:gd name="connsiteX0" fmla="*/ 0 w 357188"/>
                <a:gd name="connsiteY0" fmla="*/ 0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0 w 357188"/>
                <a:gd name="connsiteY4" fmla="*/ 0 h 111919"/>
                <a:gd name="connsiteX0" fmla="*/ 114300 w 357188"/>
                <a:gd name="connsiteY0" fmla="*/ 40481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114300 w 357188"/>
                <a:gd name="connsiteY4" fmla="*/ 40481 h 111919"/>
                <a:gd name="connsiteX0" fmla="*/ 42862 w 357188"/>
                <a:gd name="connsiteY0" fmla="*/ 16668 h 111919"/>
                <a:gd name="connsiteX1" fmla="*/ 357188 w 357188"/>
                <a:gd name="connsiteY1" fmla="*/ 0 h 111919"/>
                <a:gd name="connsiteX2" fmla="*/ 357188 w 357188"/>
                <a:gd name="connsiteY2" fmla="*/ 111919 h 111919"/>
                <a:gd name="connsiteX3" fmla="*/ 0 w 357188"/>
                <a:gd name="connsiteY3" fmla="*/ 111919 h 111919"/>
                <a:gd name="connsiteX4" fmla="*/ 42862 w 357188"/>
                <a:gd name="connsiteY4" fmla="*/ 16668 h 111919"/>
                <a:gd name="connsiteX0" fmla="*/ 42862 w 357188"/>
                <a:gd name="connsiteY0" fmla="*/ 0 h 95251"/>
                <a:gd name="connsiteX1" fmla="*/ 221457 w 357188"/>
                <a:gd name="connsiteY1" fmla="*/ 40482 h 95251"/>
                <a:gd name="connsiteX2" fmla="*/ 357188 w 357188"/>
                <a:gd name="connsiteY2" fmla="*/ 95251 h 95251"/>
                <a:gd name="connsiteX3" fmla="*/ 0 w 357188"/>
                <a:gd name="connsiteY3" fmla="*/ 95251 h 95251"/>
                <a:gd name="connsiteX4" fmla="*/ 42862 w 357188"/>
                <a:gd name="connsiteY4" fmla="*/ 0 h 95251"/>
                <a:gd name="connsiteX0" fmla="*/ 42862 w 357188"/>
                <a:gd name="connsiteY0" fmla="*/ 2381 h 97632"/>
                <a:gd name="connsiteX1" fmla="*/ 297657 w 357188"/>
                <a:gd name="connsiteY1" fmla="*/ 0 h 97632"/>
                <a:gd name="connsiteX2" fmla="*/ 357188 w 357188"/>
                <a:gd name="connsiteY2" fmla="*/ 97632 h 97632"/>
                <a:gd name="connsiteX3" fmla="*/ 0 w 357188"/>
                <a:gd name="connsiteY3" fmla="*/ 97632 h 97632"/>
                <a:gd name="connsiteX4" fmla="*/ 42862 w 357188"/>
                <a:gd name="connsiteY4" fmla="*/ 2381 h 97632"/>
                <a:gd name="connsiteX0" fmla="*/ 42862 w 376290"/>
                <a:gd name="connsiteY0" fmla="*/ 13301 h 108552"/>
                <a:gd name="connsiteX1" fmla="*/ 297657 w 376290"/>
                <a:gd name="connsiteY1" fmla="*/ 10920 h 108552"/>
                <a:gd name="connsiteX2" fmla="*/ 357188 w 376290"/>
                <a:gd name="connsiteY2" fmla="*/ 108552 h 108552"/>
                <a:gd name="connsiteX3" fmla="*/ 0 w 376290"/>
                <a:gd name="connsiteY3" fmla="*/ 108552 h 108552"/>
                <a:gd name="connsiteX4" fmla="*/ 42862 w 376290"/>
                <a:gd name="connsiteY4" fmla="*/ 13301 h 108552"/>
                <a:gd name="connsiteX0" fmla="*/ 66127 w 399555"/>
                <a:gd name="connsiteY0" fmla="*/ 13301 h 108552"/>
                <a:gd name="connsiteX1" fmla="*/ 320922 w 399555"/>
                <a:gd name="connsiteY1" fmla="*/ 10920 h 108552"/>
                <a:gd name="connsiteX2" fmla="*/ 380453 w 399555"/>
                <a:gd name="connsiteY2" fmla="*/ 108552 h 108552"/>
                <a:gd name="connsiteX3" fmla="*/ 23265 w 399555"/>
                <a:gd name="connsiteY3" fmla="*/ 108552 h 108552"/>
                <a:gd name="connsiteX4" fmla="*/ 66127 w 399555"/>
                <a:gd name="connsiteY4" fmla="*/ 13301 h 108552"/>
                <a:gd name="connsiteX0" fmla="*/ 60252 w 393680"/>
                <a:gd name="connsiteY0" fmla="*/ 9797 h 105048"/>
                <a:gd name="connsiteX1" fmla="*/ 315047 w 393680"/>
                <a:gd name="connsiteY1" fmla="*/ 7416 h 105048"/>
                <a:gd name="connsiteX2" fmla="*/ 374578 w 393680"/>
                <a:gd name="connsiteY2" fmla="*/ 105048 h 105048"/>
                <a:gd name="connsiteX3" fmla="*/ 17390 w 393680"/>
                <a:gd name="connsiteY3" fmla="*/ 105048 h 105048"/>
                <a:gd name="connsiteX4" fmla="*/ 60252 w 393680"/>
                <a:gd name="connsiteY4" fmla="*/ 9797 h 105048"/>
                <a:gd name="connsiteX0" fmla="*/ 100738 w 387763"/>
                <a:gd name="connsiteY0" fmla="*/ 28724 h 100163"/>
                <a:gd name="connsiteX1" fmla="*/ 310290 w 387763"/>
                <a:gd name="connsiteY1" fmla="*/ 2531 h 100163"/>
                <a:gd name="connsiteX2" fmla="*/ 369821 w 387763"/>
                <a:gd name="connsiteY2" fmla="*/ 100163 h 100163"/>
                <a:gd name="connsiteX3" fmla="*/ 12633 w 387763"/>
                <a:gd name="connsiteY3" fmla="*/ 100163 h 100163"/>
                <a:gd name="connsiteX4" fmla="*/ 100738 w 387763"/>
                <a:gd name="connsiteY4" fmla="*/ 28724 h 100163"/>
                <a:gd name="connsiteX0" fmla="*/ 88105 w 375130"/>
                <a:gd name="connsiteY0" fmla="*/ 28724 h 100163"/>
                <a:gd name="connsiteX1" fmla="*/ 297657 w 375130"/>
                <a:gd name="connsiteY1" fmla="*/ 2531 h 100163"/>
                <a:gd name="connsiteX2" fmla="*/ 357188 w 375130"/>
                <a:gd name="connsiteY2" fmla="*/ 100163 h 100163"/>
                <a:gd name="connsiteX3" fmla="*/ 0 w 375130"/>
                <a:gd name="connsiteY3" fmla="*/ 100163 h 100163"/>
                <a:gd name="connsiteX4" fmla="*/ 88105 w 375130"/>
                <a:gd name="connsiteY4" fmla="*/ 28724 h 100163"/>
                <a:gd name="connsiteX0" fmla="*/ 50005 w 376099"/>
                <a:gd name="connsiteY0" fmla="*/ 13086 h 103575"/>
                <a:gd name="connsiteX1" fmla="*/ 297657 w 376099"/>
                <a:gd name="connsiteY1" fmla="*/ 5943 h 103575"/>
                <a:gd name="connsiteX2" fmla="*/ 357188 w 376099"/>
                <a:gd name="connsiteY2" fmla="*/ 103575 h 103575"/>
                <a:gd name="connsiteX3" fmla="*/ 0 w 376099"/>
                <a:gd name="connsiteY3" fmla="*/ 103575 h 103575"/>
                <a:gd name="connsiteX4" fmla="*/ 50005 w 376099"/>
                <a:gd name="connsiteY4" fmla="*/ 13086 h 103575"/>
                <a:gd name="connsiteX0" fmla="*/ 50005 w 357188"/>
                <a:gd name="connsiteY0" fmla="*/ 13086 h 103575"/>
                <a:gd name="connsiteX1" fmla="*/ 297657 w 357188"/>
                <a:gd name="connsiteY1" fmla="*/ 5943 h 103575"/>
                <a:gd name="connsiteX2" fmla="*/ 357188 w 357188"/>
                <a:gd name="connsiteY2" fmla="*/ 103575 h 103575"/>
                <a:gd name="connsiteX3" fmla="*/ 0 w 357188"/>
                <a:gd name="connsiteY3" fmla="*/ 103575 h 103575"/>
                <a:gd name="connsiteX4" fmla="*/ 50005 w 357188"/>
                <a:gd name="connsiteY4" fmla="*/ 13086 h 103575"/>
                <a:gd name="connsiteX0" fmla="*/ 50005 w 357188"/>
                <a:gd name="connsiteY0" fmla="*/ 12047 h 102536"/>
                <a:gd name="connsiteX1" fmla="*/ 297657 w 357188"/>
                <a:gd name="connsiteY1" fmla="*/ 4904 h 102536"/>
                <a:gd name="connsiteX2" fmla="*/ 357188 w 357188"/>
                <a:gd name="connsiteY2" fmla="*/ 102536 h 102536"/>
                <a:gd name="connsiteX3" fmla="*/ 0 w 357188"/>
                <a:gd name="connsiteY3" fmla="*/ 102536 h 102536"/>
                <a:gd name="connsiteX4" fmla="*/ 50005 w 357188"/>
                <a:gd name="connsiteY4" fmla="*/ 12047 h 102536"/>
                <a:gd name="connsiteX0" fmla="*/ 50005 w 357188"/>
                <a:gd name="connsiteY0" fmla="*/ 12047 h 102536"/>
                <a:gd name="connsiteX1" fmla="*/ 297657 w 357188"/>
                <a:gd name="connsiteY1" fmla="*/ 4904 h 102536"/>
                <a:gd name="connsiteX2" fmla="*/ 357188 w 357188"/>
                <a:gd name="connsiteY2" fmla="*/ 102536 h 102536"/>
                <a:gd name="connsiteX3" fmla="*/ 0 w 357188"/>
                <a:gd name="connsiteY3" fmla="*/ 102536 h 102536"/>
                <a:gd name="connsiteX4" fmla="*/ 50005 w 357188"/>
                <a:gd name="connsiteY4" fmla="*/ 12047 h 102536"/>
                <a:gd name="connsiteX0" fmla="*/ 50005 w 357188"/>
                <a:gd name="connsiteY0" fmla="*/ 7197 h 97686"/>
                <a:gd name="connsiteX1" fmla="*/ 269082 w 357188"/>
                <a:gd name="connsiteY1" fmla="*/ 14341 h 97686"/>
                <a:gd name="connsiteX2" fmla="*/ 357188 w 357188"/>
                <a:gd name="connsiteY2" fmla="*/ 97686 h 97686"/>
                <a:gd name="connsiteX3" fmla="*/ 0 w 357188"/>
                <a:gd name="connsiteY3" fmla="*/ 97686 h 97686"/>
                <a:gd name="connsiteX4" fmla="*/ 50005 w 357188"/>
                <a:gd name="connsiteY4" fmla="*/ 7197 h 97686"/>
                <a:gd name="connsiteX0" fmla="*/ 50005 w 357188"/>
                <a:gd name="connsiteY0" fmla="*/ 11770 h 102259"/>
                <a:gd name="connsiteX1" fmla="*/ 295276 w 357188"/>
                <a:gd name="connsiteY1" fmla="*/ 9389 h 102259"/>
                <a:gd name="connsiteX2" fmla="*/ 357188 w 357188"/>
                <a:gd name="connsiteY2" fmla="*/ 102259 h 102259"/>
                <a:gd name="connsiteX3" fmla="*/ 0 w 357188"/>
                <a:gd name="connsiteY3" fmla="*/ 102259 h 102259"/>
                <a:gd name="connsiteX4" fmla="*/ 50005 w 357188"/>
                <a:gd name="connsiteY4" fmla="*/ 11770 h 102259"/>
                <a:gd name="connsiteX0" fmla="*/ 50005 w 357188"/>
                <a:gd name="connsiteY0" fmla="*/ 9430 h 99919"/>
                <a:gd name="connsiteX1" fmla="*/ 295276 w 357188"/>
                <a:gd name="connsiteY1" fmla="*/ 7049 h 99919"/>
                <a:gd name="connsiteX2" fmla="*/ 357188 w 357188"/>
                <a:gd name="connsiteY2" fmla="*/ 99919 h 99919"/>
                <a:gd name="connsiteX3" fmla="*/ 0 w 357188"/>
                <a:gd name="connsiteY3" fmla="*/ 99919 h 99919"/>
                <a:gd name="connsiteX4" fmla="*/ 50005 w 357188"/>
                <a:gd name="connsiteY4" fmla="*/ 9430 h 99919"/>
                <a:gd name="connsiteX0" fmla="*/ 50005 w 357188"/>
                <a:gd name="connsiteY0" fmla="*/ 12324 h 102813"/>
                <a:gd name="connsiteX1" fmla="*/ 173831 w 357188"/>
                <a:gd name="connsiteY1" fmla="*/ 2893 h 102813"/>
                <a:gd name="connsiteX2" fmla="*/ 295276 w 357188"/>
                <a:gd name="connsiteY2" fmla="*/ 9943 h 102813"/>
                <a:gd name="connsiteX3" fmla="*/ 357188 w 357188"/>
                <a:gd name="connsiteY3" fmla="*/ 102813 h 102813"/>
                <a:gd name="connsiteX4" fmla="*/ 0 w 357188"/>
                <a:gd name="connsiteY4" fmla="*/ 102813 h 102813"/>
                <a:gd name="connsiteX5" fmla="*/ 50005 w 357188"/>
                <a:gd name="connsiteY5" fmla="*/ 12324 h 102813"/>
                <a:gd name="connsiteX0" fmla="*/ 50005 w 362306"/>
                <a:gd name="connsiteY0" fmla="*/ 12324 h 102813"/>
                <a:gd name="connsiteX1" fmla="*/ 173831 w 362306"/>
                <a:gd name="connsiteY1" fmla="*/ 2893 h 102813"/>
                <a:gd name="connsiteX2" fmla="*/ 295276 w 362306"/>
                <a:gd name="connsiteY2" fmla="*/ 9943 h 102813"/>
                <a:gd name="connsiteX3" fmla="*/ 357188 w 362306"/>
                <a:gd name="connsiteY3" fmla="*/ 102813 h 102813"/>
                <a:gd name="connsiteX4" fmla="*/ 164306 w 362306"/>
                <a:gd name="connsiteY4" fmla="*/ 100649 h 102813"/>
                <a:gd name="connsiteX5" fmla="*/ 0 w 362306"/>
                <a:gd name="connsiteY5" fmla="*/ 102813 h 102813"/>
                <a:gd name="connsiteX6" fmla="*/ 50005 w 362306"/>
                <a:gd name="connsiteY6" fmla="*/ 12324 h 102813"/>
                <a:gd name="connsiteX0" fmla="*/ 50005 w 362306"/>
                <a:gd name="connsiteY0" fmla="*/ 12324 h 102813"/>
                <a:gd name="connsiteX1" fmla="*/ 173831 w 362306"/>
                <a:gd name="connsiteY1" fmla="*/ 2893 h 102813"/>
                <a:gd name="connsiteX2" fmla="*/ 295276 w 362306"/>
                <a:gd name="connsiteY2" fmla="*/ 9943 h 102813"/>
                <a:gd name="connsiteX3" fmla="*/ 357188 w 362306"/>
                <a:gd name="connsiteY3" fmla="*/ 102813 h 102813"/>
                <a:gd name="connsiteX4" fmla="*/ 178593 w 362306"/>
                <a:gd name="connsiteY4" fmla="*/ 98376 h 102813"/>
                <a:gd name="connsiteX5" fmla="*/ 0 w 362306"/>
                <a:gd name="connsiteY5" fmla="*/ 102813 h 102813"/>
                <a:gd name="connsiteX6" fmla="*/ 50005 w 362306"/>
                <a:gd name="connsiteY6" fmla="*/ 12324 h 102813"/>
                <a:gd name="connsiteX0" fmla="*/ 3 w 362309"/>
                <a:gd name="connsiteY0" fmla="*/ 108921 h 108921"/>
                <a:gd name="connsiteX1" fmla="*/ 173834 w 362309"/>
                <a:gd name="connsiteY1" fmla="*/ 9001 h 108921"/>
                <a:gd name="connsiteX2" fmla="*/ 295279 w 362309"/>
                <a:gd name="connsiteY2" fmla="*/ 16051 h 108921"/>
                <a:gd name="connsiteX3" fmla="*/ 357191 w 362309"/>
                <a:gd name="connsiteY3" fmla="*/ 108921 h 108921"/>
                <a:gd name="connsiteX4" fmla="*/ 178596 w 362309"/>
                <a:gd name="connsiteY4" fmla="*/ 104484 h 108921"/>
                <a:gd name="connsiteX5" fmla="*/ 3 w 362309"/>
                <a:gd name="connsiteY5" fmla="*/ 108921 h 108921"/>
                <a:gd name="connsiteX0" fmla="*/ 4762 w 188475"/>
                <a:gd name="connsiteY0" fmla="*/ 104484 h 108921"/>
                <a:gd name="connsiteX1" fmla="*/ 0 w 188475"/>
                <a:gd name="connsiteY1" fmla="*/ 9001 h 108921"/>
                <a:gd name="connsiteX2" fmla="*/ 121445 w 188475"/>
                <a:gd name="connsiteY2" fmla="*/ 16051 h 108921"/>
                <a:gd name="connsiteX3" fmla="*/ 183357 w 188475"/>
                <a:gd name="connsiteY3" fmla="*/ 108921 h 108921"/>
                <a:gd name="connsiteX4" fmla="*/ 4762 w 188475"/>
                <a:gd name="connsiteY4" fmla="*/ 104484 h 108921"/>
                <a:gd name="connsiteX0" fmla="*/ 0 w 188475"/>
                <a:gd name="connsiteY0" fmla="*/ 106757 h 108921"/>
                <a:gd name="connsiteX1" fmla="*/ 0 w 188475"/>
                <a:gd name="connsiteY1" fmla="*/ 9001 h 108921"/>
                <a:gd name="connsiteX2" fmla="*/ 121445 w 188475"/>
                <a:gd name="connsiteY2" fmla="*/ 16051 h 108921"/>
                <a:gd name="connsiteX3" fmla="*/ 183357 w 188475"/>
                <a:gd name="connsiteY3" fmla="*/ 108921 h 108921"/>
                <a:gd name="connsiteX4" fmla="*/ 0 w 188475"/>
                <a:gd name="connsiteY4" fmla="*/ 106757 h 108921"/>
                <a:gd name="connsiteX0" fmla="*/ 0 w 188475"/>
                <a:gd name="connsiteY0" fmla="*/ 99620 h 101784"/>
                <a:gd name="connsiteX1" fmla="*/ 0 w 188475"/>
                <a:gd name="connsiteY1" fmla="*/ 1864 h 101784"/>
                <a:gd name="connsiteX2" fmla="*/ 121445 w 188475"/>
                <a:gd name="connsiteY2" fmla="*/ 8914 h 101784"/>
                <a:gd name="connsiteX3" fmla="*/ 183357 w 188475"/>
                <a:gd name="connsiteY3" fmla="*/ 101784 h 101784"/>
                <a:gd name="connsiteX4" fmla="*/ 0 w 188475"/>
                <a:gd name="connsiteY4" fmla="*/ 99620 h 101784"/>
                <a:gd name="connsiteX0" fmla="*/ 0 w 189246"/>
                <a:gd name="connsiteY0" fmla="*/ 97756 h 99920"/>
                <a:gd name="connsiteX1" fmla="*/ 0 w 189246"/>
                <a:gd name="connsiteY1" fmla="*/ 0 h 99920"/>
                <a:gd name="connsiteX2" fmla="*/ 130970 w 189246"/>
                <a:gd name="connsiteY2" fmla="*/ 20690 h 99920"/>
                <a:gd name="connsiteX3" fmla="*/ 183357 w 189246"/>
                <a:gd name="connsiteY3" fmla="*/ 99920 h 99920"/>
                <a:gd name="connsiteX4" fmla="*/ 0 w 189246"/>
                <a:gd name="connsiteY4" fmla="*/ 97756 h 99920"/>
                <a:gd name="connsiteX0" fmla="*/ 0 w 188516"/>
                <a:gd name="connsiteY0" fmla="*/ 97756 h 99920"/>
                <a:gd name="connsiteX1" fmla="*/ 0 w 188516"/>
                <a:gd name="connsiteY1" fmla="*/ 0 h 99920"/>
                <a:gd name="connsiteX2" fmla="*/ 130970 w 188516"/>
                <a:gd name="connsiteY2" fmla="*/ 20690 h 99920"/>
                <a:gd name="connsiteX3" fmla="*/ 183357 w 188516"/>
                <a:gd name="connsiteY3" fmla="*/ 99920 h 99920"/>
                <a:gd name="connsiteX4" fmla="*/ 0 w 188516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30970 w 183357"/>
                <a:gd name="connsiteY2" fmla="*/ 2069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28589 w 183357"/>
                <a:gd name="connsiteY2" fmla="*/ 1387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  <a:gd name="connsiteX0" fmla="*/ 0 w 183357"/>
                <a:gd name="connsiteY0" fmla="*/ 97756 h 99920"/>
                <a:gd name="connsiteX1" fmla="*/ 0 w 183357"/>
                <a:gd name="connsiteY1" fmla="*/ 0 h 99920"/>
                <a:gd name="connsiteX2" fmla="*/ 128589 w 183357"/>
                <a:gd name="connsiteY2" fmla="*/ 13870 h 99920"/>
                <a:gd name="connsiteX3" fmla="*/ 183357 w 183357"/>
                <a:gd name="connsiteY3" fmla="*/ 99920 h 99920"/>
                <a:gd name="connsiteX4" fmla="*/ 0 w 183357"/>
                <a:gd name="connsiteY4" fmla="*/ 97756 h 9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3357" h="99920">
                  <a:moveTo>
                    <a:pt x="0" y="97756"/>
                  </a:moveTo>
                  <a:lnTo>
                    <a:pt x="0" y="0"/>
                  </a:lnTo>
                  <a:cubicBezTo>
                    <a:pt x="53975" y="2709"/>
                    <a:pt x="107554" y="-5056"/>
                    <a:pt x="128589" y="13870"/>
                  </a:cubicBezTo>
                  <a:cubicBezTo>
                    <a:pt x="149624" y="32796"/>
                    <a:pt x="164704" y="57522"/>
                    <a:pt x="183357" y="99920"/>
                  </a:cubicBezTo>
                  <a:lnTo>
                    <a:pt x="0" y="977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ounded Rectangle 43">
              <a:extLst>
                <a:ext uri="{FF2B5EF4-FFF2-40B4-BE49-F238E27FC236}">
                  <a16:creationId xmlns:a16="http://schemas.microsoft.com/office/drawing/2014/main" id="{84A937AB-F06A-41DD-87A5-5681A8A16ADF}"/>
                </a:ext>
              </a:extLst>
            </p:cNvPr>
            <p:cNvSpPr/>
            <p:nvPr/>
          </p:nvSpPr>
          <p:spPr>
            <a:xfrm>
              <a:off x="2350438" y="1609469"/>
              <a:ext cx="245476" cy="147286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ounded Rectangle 44">
              <a:extLst>
                <a:ext uri="{FF2B5EF4-FFF2-40B4-BE49-F238E27FC236}">
                  <a16:creationId xmlns:a16="http://schemas.microsoft.com/office/drawing/2014/main" id="{1B594749-E214-4A00-9348-A112BF73EC1B}"/>
                </a:ext>
              </a:extLst>
            </p:cNvPr>
            <p:cNvSpPr/>
            <p:nvPr/>
          </p:nvSpPr>
          <p:spPr>
            <a:xfrm>
              <a:off x="3300650" y="1608447"/>
              <a:ext cx="245476" cy="147286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45">
              <a:extLst>
                <a:ext uri="{FF2B5EF4-FFF2-40B4-BE49-F238E27FC236}">
                  <a16:creationId xmlns:a16="http://schemas.microsoft.com/office/drawing/2014/main" id="{DFDA90EB-90F5-4E15-BCC0-A7342A19384F}"/>
                </a:ext>
              </a:extLst>
            </p:cNvPr>
            <p:cNvSpPr/>
            <p:nvPr/>
          </p:nvSpPr>
          <p:spPr>
            <a:xfrm>
              <a:off x="3172783" y="1363993"/>
              <a:ext cx="190244" cy="165697"/>
            </a:xfrm>
            <a:prstGeom prst="ellipse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7" name="Titre 1">
            <a:extLst>
              <a:ext uri="{FF2B5EF4-FFF2-40B4-BE49-F238E27FC236}">
                <a16:creationId xmlns:a16="http://schemas.microsoft.com/office/drawing/2014/main" id="{F94D2D2C-15D3-4F6C-9AE3-0243E9B68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6890556" cy="1143000"/>
          </a:xfrm>
        </p:spPr>
        <p:txBody>
          <a:bodyPr/>
          <a:lstStyle/>
          <a:p>
            <a:r>
              <a:rPr lang="fr-FR" dirty="0"/>
              <a:t>Challenge </a:t>
            </a:r>
            <a:r>
              <a:rPr lang="fr-FR" dirty="0" err="1"/>
              <a:t>facing</a:t>
            </a:r>
            <a:r>
              <a:rPr lang="fr-FR" dirty="0"/>
              <a:t> the </a:t>
            </a:r>
            <a:r>
              <a:rPr lang="fr-FR" dirty="0" err="1"/>
              <a:t>Automated</a:t>
            </a:r>
            <a:r>
              <a:rPr lang="fr-FR" dirty="0"/>
              <a:t> Driving (AD)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FD0EAEF4-DF8A-4EB1-82DC-0C37EFA12BED}"/>
              </a:ext>
            </a:extLst>
          </p:cNvPr>
          <p:cNvSpPr txBox="1"/>
          <p:nvPr/>
        </p:nvSpPr>
        <p:spPr>
          <a:xfrm>
            <a:off x="3430160" y="1957405"/>
            <a:ext cx="46805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 err="1"/>
              <a:t>Automated</a:t>
            </a:r>
            <a:r>
              <a:rPr lang="fr-FR" sz="3200" dirty="0"/>
              <a:t> </a:t>
            </a:r>
            <a:r>
              <a:rPr lang="fr-FR" sz="3200" dirty="0" err="1"/>
              <a:t>vehicles</a:t>
            </a:r>
            <a:endParaRPr lang="en-GB" sz="3200" dirty="0"/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F76FC077-90BC-40AF-97C5-3D000AB4D124}"/>
              </a:ext>
            </a:extLst>
          </p:cNvPr>
          <p:cNvSpPr txBox="1"/>
          <p:nvPr/>
        </p:nvSpPr>
        <p:spPr>
          <a:xfrm>
            <a:off x="5879976" y="3471391"/>
            <a:ext cx="18799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AD System</a:t>
            </a:r>
            <a:endParaRPr lang="en-GB" sz="2400" dirty="0"/>
          </a:p>
        </p:txBody>
      </p:sp>
      <p:sp>
        <p:nvSpPr>
          <p:cNvPr id="43" name="Rectangle : coins arrondis 42">
            <a:extLst>
              <a:ext uri="{FF2B5EF4-FFF2-40B4-BE49-F238E27FC236}">
                <a16:creationId xmlns:a16="http://schemas.microsoft.com/office/drawing/2014/main" id="{DBD13BC0-E950-4C5F-A8CA-CB124C67F6F1}"/>
              </a:ext>
            </a:extLst>
          </p:cNvPr>
          <p:cNvSpPr/>
          <p:nvPr/>
        </p:nvSpPr>
        <p:spPr>
          <a:xfrm>
            <a:off x="5141457" y="3429000"/>
            <a:ext cx="2959656" cy="2304256"/>
          </a:xfrm>
          <a:prstGeom prst="roundRect">
            <a:avLst/>
          </a:prstGeom>
          <a:noFill/>
          <a:ln w="76200">
            <a:solidFill>
              <a:srgbClr val="CD6C3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7CA056CD-A8EA-43A7-A346-FABC4972F411}"/>
              </a:ext>
            </a:extLst>
          </p:cNvPr>
          <p:cNvSpPr txBox="1"/>
          <p:nvPr/>
        </p:nvSpPr>
        <p:spPr>
          <a:xfrm>
            <a:off x="4771164" y="5870404"/>
            <a:ext cx="4180656" cy="954107"/>
          </a:xfrm>
          <a:prstGeom prst="rect">
            <a:avLst/>
          </a:prstGeom>
          <a:noFill/>
          <a:ln>
            <a:solidFill>
              <a:srgbClr val="CD6C3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 err="1"/>
              <a:t>Requirements</a:t>
            </a:r>
            <a:r>
              <a:rPr lang="fr-FR" sz="2800" b="1" dirty="0"/>
              <a:t> </a:t>
            </a:r>
            <a:r>
              <a:rPr lang="fr-FR" sz="2800" b="1" dirty="0" err="1"/>
              <a:t>specific</a:t>
            </a:r>
            <a:r>
              <a:rPr lang="fr-FR" sz="2800" b="1" dirty="0"/>
              <a:t> to automation</a:t>
            </a:r>
            <a:endParaRPr lang="en-GB" sz="2800" b="1" dirty="0"/>
          </a:p>
        </p:txBody>
      </p:sp>
    </p:spTree>
    <p:extLst>
      <p:ext uri="{BB962C8B-B14F-4D97-AF65-F5344CB8AC3E}">
        <p14:creationId xmlns:p14="http://schemas.microsoft.com/office/powerpoint/2010/main" val="650886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.e3tkESgu21hwCZPMsAw"/>
</p:tagLst>
</file>

<file path=ppt/theme/theme1.xml><?xml version="1.0" encoding="utf-8"?>
<a:theme xmlns:a="http://schemas.openxmlformats.org/drawingml/2006/main" name="Masque présentation OICA">
  <a:themeElements>
    <a:clrScheme name="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sque présentation avec nouveau logo et format 16x9" id="{85D48C29-F5D1-45D1-86B0-358C96AA2DC8}" vid="{438186FC-A8D2-4D68-B072-911AEBB13642}"/>
    </a:ext>
  </a:ext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que présentation avec nouveau logo et format 16x9</Template>
  <TotalTime>121</TotalTime>
  <Words>547</Words>
  <Application>Microsoft Office PowerPoint</Application>
  <PresentationFormat>Widescreen</PresentationFormat>
  <Paragraphs>127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ＭＳ Ｐゴシック</vt:lpstr>
      <vt:lpstr>Arial</vt:lpstr>
      <vt:lpstr>Arial Black</vt:lpstr>
      <vt:lpstr>Calibri</vt:lpstr>
      <vt:lpstr>Calibri Light</vt:lpstr>
      <vt:lpstr>Courier New</vt:lpstr>
      <vt:lpstr>Wingdings</vt:lpstr>
      <vt:lpstr>Masque présentation OICA</vt:lpstr>
      <vt:lpstr>think-cell Folie</vt:lpstr>
      <vt:lpstr>Report on Automated Vehicle activities </vt:lpstr>
      <vt:lpstr>Timeline</vt:lpstr>
      <vt:lpstr>State of play at GRVA</vt:lpstr>
      <vt:lpstr>Examples for the different pillars’ functions</vt:lpstr>
      <vt:lpstr>Concept for certification – the three pillars and their individual purpose</vt:lpstr>
      <vt:lpstr>State of play at WP1</vt:lpstr>
      <vt:lpstr>Challenge facing the Automated Driving (AD)</vt:lpstr>
      <vt:lpstr>Challenge facing the Automated Driving (AD)</vt:lpstr>
      <vt:lpstr>Challenge facing the Automated Driving (AD)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Olivier Fontaine</dc:creator>
  <cp:lastModifiedBy>Romain Hubert</cp:lastModifiedBy>
  <cp:revision>14</cp:revision>
  <dcterms:created xsi:type="dcterms:W3CDTF">2019-04-03T12:22:13Z</dcterms:created>
  <dcterms:modified xsi:type="dcterms:W3CDTF">2019-04-03T16:21:03Z</dcterms:modified>
</cp:coreProperties>
</file>